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4a" ContentType="audi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 id="2147483914" r:id="rId5"/>
  </p:sldMasterIdLst>
  <p:notesMasterIdLst>
    <p:notesMasterId r:id="rId19"/>
  </p:notesMasterIdLst>
  <p:handoutMasterIdLst>
    <p:handoutMasterId r:id="rId20"/>
  </p:handoutMasterIdLst>
  <p:sldIdLst>
    <p:sldId id="1060" r:id="rId6"/>
    <p:sldId id="1139" r:id="rId7"/>
    <p:sldId id="1157" r:id="rId8"/>
    <p:sldId id="1159" r:id="rId9"/>
    <p:sldId id="1158" r:id="rId10"/>
    <p:sldId id="1160" r:id="rId11"/>
    <p:sldId id="1162" r:id="rId12"/>
    <p:sldId id="1166" r:id="rId13"/>
    <p:sldId id="1163" r:id="rId14"/>
    <p:sldId id="1164" r:id="rId15"/>
    <p:sldId id="1167" r:id="rId16"/>
    <p:sldId id="1090" r:id="rId17"/>
    <p:sldId id="1091" r:id="rId18"/>
  </p:sldIdLst>
  <p:sldSz cx="12192000" cy="6858000"/>
  <p:notesSz cx="6858000" cy="9144000"/>
  <p:embeddedFontLst>
    <p:embeddedFont>
      <p:font typeface="Ubuntu" panose="020B0504030602030204" pitchFamily="34" charset="0"/>
      <p:regular r:id="rId21"/>
      <p:bold r:id="rId22"/>
      <p:italic r:id="rId23"/>
      <p:boldItalic r:id="rId24"/>
    </p:embeddedFont>
    <p:embeddedFont>
      <p:font typeface="Ubuntu Light" panose="020B0304030602030204" pitchFamily="34" charset="0"/>
      <p:regular r:id="rId25"/>
      <p:italic r:id="rId26"/>
    </p:embeddedFont>
    <p:embeddedFont>
      <p:font typeface="Ubuntu Medium" panose="020B0604030602030204" pitchFamily="34" charset="0"/>
      <p:regular r:id="rId27"/>
      <p:italic r:id="rId28"/>
    </p:embeddedFont>
  </p:embeddedFontLst>
  <p:custDataLst>
    <p:tags r:id="rId2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526E98"/>
    <a:srgbClr val="CBD5E3"/>
    <a:srgbClr val="272936"/>
    <a:srgbClr val="8F22CC"/>
    <a:srgbClr val="58157D"/>
    <a:srgbClr val="2B0A3D"/>
    <a:srgbClr val="ECECEC"/>
    <a:srgbClr val="12ABDB"/>
    <a:srgbClr val="0020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D53801-0F48-40E0-8B10-CA3462C3EED0}" v="146" dt="2022-10-14T14:39:50.6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52" autoAdjust="0"/>
    <p:restoredTop sz="93655" autoAdjust="0"/>
  </p:normalViewPr>
  <p:slideViewPr>
    <p:cSldViewPr>
      <p:cViewPr varScale="1">
        <p:scale>
          <a:sx n="111" d="100"/>
          <a:sy n="111" d="100"/>
        </p:scale>
        <p:origin x="62" y="62"/>
      </p:cViewPr>
      <p:guideLst>
        <p:guide orient="horz" pos="2341"/>
        <p:guide pos="3840"/>
      </p:guideLst>
    </p:cSldViewPr>
  </p:slideViewPr>
  <p:outlineViewPr>
    <p:cViewPr>
      <p:scale>
        <a:sx n="33" d="100"/>
        <a:sy n="33" d="100"/>
      </p:scale>
      <p:origin x="0" y="-111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112" d="100"/>
          <a:sy n="112" d="100"/>
        </p:scale>
        <p:origin x="295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font" Target="fonts/font1.fntdata"/><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5.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4.fntdata"/><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notesMaster" Target="notesMasters/notesMaster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LISDEMIR, Ufuk" userId="569d8f73-9a2b-46ed-81f6-ad4d857e353e" providerId="ADAL" clId="{881F6775-A9F9-4651-8C82-66FC0DB75F96}"/>
    <pc:docChg chg="undo custSel addSld delSld modSld sldOrd">
      <pc:chgData name="HALISDEMIR, Ufuk" userId="569d8f73-9a2b-46ed-81f6-ad4d857e353e" providerId="ADAL" clId="{881F6775-A9F9-4651-8C82-66FC0DB75F96}" dt="2022-10-04T08:23:37.166" v="1363" actId="1076"/>
      <pc:docMkLst>
        <pc:docMk/>
      </pc:docMkLst>
      <pc:sldChg chg="addSp modSp add mod">
        <pc:chgData name="HALISDEMIR, Ufuk" userId="569d8f73-9a2b-46ed-81f6-ad4d857e353e" providerId="ADAL" clId="{881F6775-A9F9-4651-8C82-66FC0DB75F96}" dt="2022-10-04T08:21:06.573" v="1341" actId="207"/>
        <pc:sldMkLst>
          <pc:docMk/>
          <pc:sldMk cId="1355123851" sldId="1052"/>
        </pc:sldMkLst>
        <pc:spChg chg="add mod">
          <ac:chgData name="HALISDEMIR, Ufuk" userId="569d8f73-9a2b-46ed-81f6-ad4d857e353e" providerId="ADAL" clId="{881F6775-A9F9-4651-8C82-66FC0DB75F96}" dt="2022-10-04T08:21:06.573" v="1341" actId="207"/>
          <ac:spMkLst>
            <pc:docMk/>
            <pc:sldMk cId="1355123851" sldId="1052"/>
            <ac:spMk id="3" creationId="{78EF7113-BCC2-4F43-B8CF-727E75792FF4}"/>
          </ac:spMkLst>
        </pc:spChg>
        <pc:spChg chg="mod">
          <ac:chgData name="HALISDEMIR, Ufuk" userId="569d8f73-9a2b-46ed-81f6-ad4d857e353e" providerId="ADAL" clId="{881F6775-A9F9-4651-8C82-66FC0DB75F96}" dt="2022-10-04T08:20:44.648" v="1329" actId="20577"/>
          <ac:spMkLst>
            <pc:docMk/>
            <pc:sldMk cId="1355123851" sldId="1052"/>
            <ac:spMk id="9" creationId="{81A790AD-9AC6-45A8-A6F4-7CC5EC9D86BF}"/>
          </ac:spMkLst>
        </pc:spChg>
        <pc:spChg chg="mod">
          <ac:chgData name="HALISDEMIR, Ufuk" userId="569d8f73-9a2b-46ed-81f6-ad4d857e353e" providerId="ADAL" clId="{881F6775-A9F9-4651-8C82-66FC0DB75F96}" dt="2022-09-30T09:24:26.887" v="660" actId="313"/>
          <ac:spMkLst>
            <pc:docMk/>
            <pc:sldMk cId="1355123851" sldId="1052"/>
            <ac:spMk id="12" creationId="{63D73F40-4837-48C5-BD70-A127F798E222}"/>
          </ac:spMkLst>
        </pc:spChg>
        <pc:spChg chg="mod">
          <ac:chgData name="HALISDEMIR, Ufuk" userId="569d8f73-9a2b-46ed-81f6-ad4d857e353e" providerId="ADAL" clId="{881F6775-A9F9-4651-8C82-66FC0DB75F96}" dt="2022-09-30T09:25:04.897" v="681" actId="20577"/>
          <ac:spMkLst>
            <pc:docMk/>
            <pc:sldMk cId="1355123851" sldId="1052"/>
            <ac:spMk id="15" creationId="{F004D128-CEDA-4A6F-8980-B2985303962F}"/>
          </ac:spMkLst>
        </pc:spChg>
      </pc:sldChg>
      <pc:sldChg chg="addSp modSp add mod">
        <pc:chgData name="HALISDEMIR, Ufuk" userId="569d8f73-9a2b-46ed-81f6-ad4d857e353e" providerId="ADAL" clId="{881F6775-A9F9-4651-8C82-66FC0DB75F96}" dt="2022-10-04T08:21:43.643" v="1359" actId="1076"/>
        <pc:sldMkLst>
          <pc:docMk/>
          <pc:sldMk cId="2580115850" sldId="1053"/>
        </pc:sldMkLst>
        <pc:spChg chg="add mod">
          <ac:chgData name="HALISDEMIR, Ufuk" userId="569d8f73-9a2b-46ed-81f6-ad4d857e353e" providerId="ADAL" clId="{881F6775-A9F9-4651-8C82-66FC0DB75F96}" dt="2022-10-04T08:21:43.643" v="1359" actId="1076"/>
          <ac:spMkLst>
            <pc:docMk/>
            <pc:sldMk cId="2580115850" sldId="1053"/>
            <ac:spMk id="8" creationId="{06DA09E0-DF35-4EE1-B6DC-FAE3BB394933}"/>
          </ac:spMkLst>
        </pc:spChg>
        <pc:spChg chg="mod">
          <ac:chgData name="HALISDEMIR, Ufuk" userId="569d8f73-9a2b-46ed-81f6-ad4d857e353e" providerId="ADAL" clId="{881F6775-A9F9-4651-8C82-66FC0DB75F96}" dt="2022-09-30T09:34:45.258" v="727" actId="255"/>
          <ac:spMkLst>
            <pc:docMk/>
            <pc:sldMk cId="2580115850" sldId="1053"/>
            <ac:spMk id="10" creationId="{FBCCA8EB-7A85-420C-86B0-215181B86383}"/>
          </ac:spMkLst>
        </pc:spChg>
        <pc:spChg chg="mod">
          <ac:chgData name="HALISDEMIR, Ufuk" userId="569d8f73-9a2b-46ed-81f6-ad4d857e353e" providerId="ADAL" clId="{881F6775-A9F9-4651-8C82-66FC0DB75F96}" dt="2022-09-30T09:39:31.208" v="778" actId="1076"/>
          <ac:spMkLst>
            <pc:docMk/>
            <pc:sldMk cId="2580115850" sldId="1053"/>
            <ac:spMk id="12" creationId="{63D73F40-4837-48C5-BD70-A127F798E222}"/>
          </ac:spMkLst>
        </pc:spChg>
        <pc:spChg chg="mod">
          <ac:chgData name="HALISDEMIR, Ufuk" userId="569d8f73-9a2b-46ed-81f6-ad4d857e353e" providerId="ADAL" clId="{881F6775-A9F9-4651-8C82-66FC0DB75F96}" dt="2022-09-30T09:34:54.722" v="731" actId="20577"/>
          <ac:spMkLst>
            <pc:docMk/>
            <pc:sldMk cId="2580115850" sldId="1053"/>
            <ac:spMk id="14" creationId="{D6A52ED6-CADF-4F95-89FF-0CC8CB5C4486}"/>
          </ac:spMkLst>
        </pc:spChg>
        <pc:spChg chg="mod">
          <ac:chgData name="HALISDEMIR, Ufuk" userId="569d8f73-9a2b-46ed-81f6-ad4d857e353e" providerId="ADAL" clId="{881F6775-A9F9-4651-8C82-66FC0DB75F96}" dt="2022-09-30T09:39:37.310" v="779" actId="1076"/>
          <ac:spMkLst>
            <pc:docMk/>
            <pc:sldMk cId="2580115850" sldId="1053"/>
            <ac:spMk id="15" creationId="{F004D128-CEDA-4A6F-8980-B2985303962F}"/>
          </ac:spMkLst>
        </pc:spChg>
      </pc:sldChg>
      <pc:sldChg chg="del">
        <pc:chgData name="HALISDEMIR, Ufuk" userId="569d8f73-9a2b-46ed-81f6-ad4d857e353e" providerId="ADAL" clId="{881F6775-A9F9-4651-8C82-66FC0DB75F96}" dt="2022-09-30T13:13:09.006" v="1011" actId="47"/>
        <pc:sldMkLst>
          <pc:docMk/>
          <pc:sldMk cId="1532453844" sldId="1054"/>
        </pc:sldMkLst>
      </pc:sldChg>
      <pc:sldChg chg="del">
        <pc:chgData name="HALISDEMIR, Ufuk" userId="569d8f73-9a2b-46ed-81f6-ad4d857e353e" providerId="ADAL" clId="{881F6775-A9F9-4651-8C82-66FC0DB75F96}" dt="2022-09-30T13:13:09.006" v="1011" actId="47"/>
        <pc:sldMkLst>
          <pc:docMk/>
          <pc:sldMk cId="1527955752" sldId="1055"/>
        </pc:sldMkLst>
      </pc:sldChg>
      <pc:sldChg chg="modSp mod">
        <pc:chgData name="HALISDEMIR, Ufuk" userId="569d8f73-9a2b-46ed-81f6-ad4d857e353e" providerId="ADAL" clId="{881F6775-A9F9-4651-8C82-66FC0DB75F96}" dt="2022-10-04T08:23:00.516" v="1362" actId="20577"/>
        <pc:sldMkLst>
          <pc:docMk/>
          <pc:sldMk cId="1677881774" sldId="1056"/>
        </pc:sldMkLst>
        <pc:spChg chg="mod">
          <ac:chgData name="HALISDEMIR, Ufuk" userId="569d8f73-9a2b-46ed-81f6-ad4d857e353e" providerId="ADAL" clId="{881F6775-A9F9-4651-8C82-66FC0DB75F96}" dt="2022-09-30T09:20:01.019" v="466" actId="790"/>
          <ac:spMkLst>
            <pc:docMk/>
            <pc:sldMk cId="1677881774" sldId="1056"/>
            <ac:spMk id="2" creationId="{F248B719-C380-4073-8D96-554D75710800}"/>
          </ac:spMkLst>
        </pc:spChg>
        <pc:spChg chg="mod">
          <ac:chgData name="HALISDEMIR, Ufuk" userId="569d8f73-9a2b-46ed-81f6-ad4d857e353e" providerId="ADAL" clId="{881F6775-A9F9-4651-8C82-66FC0DB75F96}" dt="2022-10-04T08:23:00.516" v="1362" actId="20577"/>
          <ac:spMkLst>
            <pc:docMk/>
            <pc:sldMk cId="1677881774" sldId="1056"/>
            <ac:spMk id="3" creationId="{EB9BAAFA-C619-43B0-964D-8714A7967CBD}"/>
          </ac:spMkLst>
        </pc:spChg>
        <pc:spChg chg="mod">
          <ac:chgData name="HALISDEMIR, Ufuk" userId="569d8f73-9a2b-46ed-81f6-ad4d857e353e" providerId="ADAL" clId="{881F6775-A9F9-4651-8C82-66FC0DB75F96}" dt="2022-09-30T09:21:44.738" v="577" actId="1076"/>
          <ac:spMkLst>
            <pc:docMk/>
            <pc:sldMk cId="1677881774" sldId="1056"/>
            <ac:spMk id="4" creationId="{FB48A9C7-8A7D-4BC5-8C0F-7EB67F5031FC}"/>
          </ac:spMkLst>
        </pc:spChg>
      </pc:sldChg>
      <pc:sldChg chg="modSp add mod">
        <pc:chgData name="HALISDEMIR, Ufuk" userId="569d8f73-9a2b-46ed-81f6-ad4d857e353e" providerId="ADAL" clId="{881F6775-A9F9-4651-8C82-66FC0DB75F96}" dt="2022-09-30T09:42:35.479" v="856" actId="1076"/>
        <pc:sldMkLst>
          <pc:docMk/>
          <pc:sldMk cId="1435534025" sldId="1058"/>
        </pc:sldMkLst>
        <pc:spChg chg="mod">
          <ac:chgData name="HALISDEMIR, Ufuk" userId="569d8f73-9a2b-46ed-81f6-ad4d857e353e" providerId="ADAL" clId="{881F6775-A9F9-4651-8C82-66FC0DB75F96}" dt="2022-09-30T09:42:35.479" v="856" actId="1076"/>
          <ac:spMkLst>
            <pc:docMk/>
            <pc:sldMk cId="1435534025" sldId="1058"/>
            <ac:spMk id="6" creationId="{6514E192-A119-4800-95A3-EB37F9A61BA6}"/>
          </ac:spMkLst>
        </pc:spChg>
        <pc:spChg chg="mod">
          <ac:chgData name="HALISDEMIR, Ufuk" userId="569d8f73-9a2b-46ed-81f6-ad4d857e353e" providerId="ADAL" clId="{881F6775-A9F9-4651-8C82-66FC0DB75F96}" dt="2022-09-30T09:42:35.479" v="856" actId="1076"/>
          <ac:spMkLst>
            <pc:docMk/>
            <pc:sldMk cId="1435534025" sldId="1058"/>
            <ac:spMk id="7" creationId="{FBFCCCA9-5777-4B87-9A50-D9D71812CEF2}"/>
          </ac:spMkLst>
        </pc:spChg>
        <pc:spChg chg="mod">
          <ac:chgData name="HALISDEMIR, Ufuk" userId="569d8f73-9a2b-46ed-81f6-ad4d857e353e" providerId="ADAL" clId="{881F6775-A9F9-4651-8C82-66FC0DB75F96}" dt="2022-09-30T09:42:35.479" v="856" actId="1076"/>
          <ac:spMkLst>
            <pc:docMk/>
            <pc:sldMk cId="1435534025" sldId="1058"/>
            <ac:spMk id="8" creationId="{8CE6A247-88BA-48C3-8CE7-A577AAA06D49}"/>
          </ac:spMkLst>
        </pc:spChg>
        <pc:picChg chg="mod">
          <ac:chgData name="HALISDEMIR, Ufuk" userId="569d8f73-9a2b-46ed-81f6-ad4d857e353e" providerId="ADAL" clId="{881F6775-A9F9-4651-8C82-66FC0DB75F96}" dt="2022-09-30T09:42:35.479" v="856" actId="1076"/>
          <ac:picMkLst>
            <pc:docMk/>
            <pc:sldMk cId="1435534025" sldId="1058"/>
            <ac:picMk id="3" creationId="{F4FD20BC-3D12-418D-A507-7B3016BED59D}"/>
          </ac:picMkLst>
        </pc:picChg>
      </pc:sldChg>
      <pc:sldChg chg="addSp delSp modSp add mod modClrScheme chgLayout">
        <pc:chgData name="HALISDEMIR, Ufuk" userId="569d8f73-9a2b-46ed-81f6-ad4d857e353e" providerId="ADAL" clId="{881F6775-A9F9-4651-8C82-66FC0DB75F96}" dt="2022-09-30T09:45:40.264" v="912" actId="790"/>
        <pc:sldMkLst>
          <pc:docMk/>
          <pc:sldMk cId="4161943190" sldId="1059"/>
        </pc:sldMkLst>
        <pc:spChg chg="add del mod ord">
          <ac:chgData name="HALISDEMIR, Ufuk" userId="569d8f73-9a2b-46ed-81f6-ad4d857e353e" providerId="ADAL" clId="{881F6775-A9F9-4651-8C82-66FC0DB75F96}" dt="2022-09-30T09:43:48.229" v="872" actId="700"/>
          <ac:spMkLst>
            <pc:docMk/>
            <pc:sldMk cId="4161943190" sldId="1059"/>
            <ac:spMk id="2" creationId="{A269AE39-732B-4723-873B-F0996F9F1EEA}"/>
          </ac:spMkLst>
        </pc:spChg>
        <pc:spChg chg="mod ord">
          <ac:chgData name="HALISDEMIR, Ufuk" userId="569d8f73-9a2b-46ed-81f6-ad4d857e353e" providerId="ADAL" clId="{881F6775-A9F9-4651-8C82-66FC0DB75F96}" dt="2022-09-30T09:43:48.229" v="872" actId="700"/>
          <ac:spMkLst>
            <pc:docMk/>
            <pc:sldMk cId="4161943190" sldId="1059"/>
            <ac:spMk id="3" creationId="{00000000-0000-0000-0000-000000000000}"/>
          </ac:spMkLst>
        </pc:spChg>
        <pc:spChg chg="add del mod ord">
          <ac:chgData name="HALISDEMIR, Ufuk" userId="569d8f73-9a2b-46ed-81f6-ad4d857e353e" providerId="ADAL" clId="{881F6775-A9F9-4651-8C82-66FC0DB75F96}" dt="2022-09-30T09:43:48.229" v="872" actId="700"/>
          <ac:spMkLst>
            <pc:docMk/>
            <pc:sldMk cId="4161943190" sldId="1059"/>
            <ac:spMk id="4" creationId="{BFAD33FA-CF45-4FA9-84CD-C84326D07212}"/>
          </ac:spMkLst>
        </pc:spChg>
        <pc:spChg chg="add del mod ord">
          <ac:chgData name="HALISDEMIR, Ufuk" userId="569d8f73-9a2b-46ed-81f6-ad4d857e353e" providerId="ADAL" clId="{881F6775-A9F9-4651-8C82-66FC0DB75F96}" dt="2022-09-30T09:45:18.936" v="909" actId="478"/>
          <ac:spMkLst>
            <pc:docMk/>
            <pc:sldMk cId="4161943190" sldId="1059"/>
            <ac:spMk id="5" creationId="{B8753BAF-F022-448A-9130-FC4E539EC0E9}"/>
          </ac:spMkLst>
        </pc:spChg>
        <pc:spChg chg="add mod ord">
          <ac:chgData name="HALISDEMIR, Ufuk" userId="569d8f73-9a2b-46ed-81f6-ad4d857e353e" providerId="ADAL" clId="{881F6775-A9F9-4651-8C82-66FC0DB75F96}" dt="2022-09-30T09:45:40.264" v="912" actId="790"/>
          <ac:spMkLst>
            <pc:docMk/>
            <pc:sldMk cId="4161943190" sldId="1059"/>
            <ac:spMk id="6" creationId="{CBAFB980-598D-4DE4-BC80-E6ED5952843C}"/>
          </ac:spMkLst>
        </pc:spChg>
        <pc:spChg chg="del">
          <ac:chgData name="HALISDEMIR, Ufuk" userId="569d8f73-9a2b-46ed-81f6-ad4d857e353e" providerId="ADAL" clId="{881F6775-A9F9-4651-8C82-66FC0DB75F96}" dt="2022-09-30T09:43:40.713" v="861" actId="478"/>
          <ac:spMkLst>
            <pc:docMk/>
            <pc:sldMk cId="4161943190" sldId="1059"/>
            <ac:spMk id="25" creationId="{94A31946-8708-EAA8-4BB4-27D6AFA639EF}"/>
          </ac:spMkLst>
        </pc:spChg>
        <pc:spChg chg="mod">
          <ac:chgData name="HALISDEMIR, Ufuk" userId="569d8f73-9a2b-46ed-81f6-ad4d857e353e" providerId="ADAL" clId="{881F6775-A9F9-4651-8C82-66FC0DB75F96}" dt="2022-09-30T09:45:26.803" v="910" actId="1076"/>
          <ac:spMkLst>
            <pc:docMk/>
            <pc:sldMk cId="4161943190" sldId="1059"/>
            <ac:spMk id="26" creationId="{3D5BBBC5-425B-0D7D-E389-759E565ED84D}"/>
          </ac:spMkLst>
        </pc:spChg>
        <pc:picChg chg="mod">
          <ac:chgData name="HALISDEMIR, Ufuk" userId="569d8f73-9a2b-46ed-81f6-ad4d857e353e" providerId="ADAL" clId="{881F6775-A9F9-4651-8C82-66FC0DB75F96}" dt="2022-09-30T09:45:26.803" v="910" actId="1076"/>
          <ac:picMkLst>
            <pc:docMk/>
            <pc:sldMk cId="4161943190" sldId="1059"/>
            <ac:picMk id="24" creationId="{CCEDFDB8-2EAE-F4CC-924C-D6A5E9B2F28C}"/>
          </ac:picMkLst>
        </pc:picChg>
        <pc:picChg chg="mod">
          <ac:chgData name="HALISDEMIR, Ufuk" userId="569d8f73-9a2b-46ed-81f6-ad4d857e353e" providerId="ADAL" clId="{881F6775-A9F9-4651-8C82-66FC0DB75F96}" dt="2022-09-30T09:45:26.803" v="910" actId="1076"/>
          <ac:picMkLst>
            <pc:docMk/>
            <pc:sldMk cId="4161943190" sldId="1059"/>
            <ac:picMk id="28" creationId="{FDDA6BD6-828A-65E4-F09E-2FC3EE2FAF84}"/>
          </ac:picMkLst>
        </pc:picChg>
        <pc:picChg chg="mod">
          <ac:chgData name="HALISDEMIR, Ufuk" userId="569d8f73-9a2b-46ed-81f6-ad4d857e353e" providerId="ADAL" clId="{881F6775-A9F9-4651-8C82-66FC0DB75F96}" dt="2022-09-30T09:45:26.803" v="910" actId="1076"/>
          <ac:picMkLst>
            <pc:docMk/>
            <pc:sldMk cId="4161943190" sldId="1059"/>
            <ac:picMk id="30" creationId="{3AC6ABEC-72F8-01BF-0803-62FFD16ADDA2}"/>
          </ac:picMkLst>
        </pc:picChg>
        <pc:picChg chg="mod">
          <ac:chgData name="HALISDEMIR, Ufuk" userId="569d8f73-9a2b-46ed-81f6-ad4d857e353e" providerId="ADAL" clId="{881F6775-A9F9-4651-8C82-66FC0DB75F96}" dt="2022-09-30T09:45:27.903" v="911" actId="1076"/>
          <ac:picMkLst>
            <pc:docMk/>
            <pc:sldMk cId="4161943190" sldId="1059"/>
            <ac:picMk id="41" creationId="{7DB5B267-C595-E3B3-EF9E-EE51E0407C07}"/>
          </ac:picMkLst>
        </pc:picChg>
      </pc:sldChg>
      <pc:sldChg chg="modSp mod">
        <pc:chgData name="HALISDEMIR, Ufuk" userId="569d8f73-9a2b-46ed-81f6-ad4d857e353e" providerId="ADAL" clId="{881F6775-A9F9-4651-8C82-66FC0DB75F96}" dt="2022-09-30T09:15:09.377" v="59" actId="313"/>
        <pc:sldMkLst>
          <pc:docMk/>
          <pc:sldMk cId="3210250137" sldId="1060"/>
        </pc:sldMkLst>
        <pc:spChg chg="mod">
          <ac:chgData name="HALISDEMIR, Ufuk" userId="569d8f73-9a2b-46ed-81f6-ad4d857e353e" providerId="ADAL" clId="{881F6775-A9F9-4651-8C82-66FC0DB75F96}" dt="2022-09-30T09:15:00.839" v="58" actId="790"/>
          <ac:spMkLst>
            <pc:docMk/>
            <pc:sldMk cId="3210250137" sldId="1060"/>
            <ac:spMk id="5" creationId="{A7209851-4463-474D-B8ED-4904CFCA691D}"/>
          </ac:spMkLst>
        </pc:spChg>
        <pc:spChg chg="mod">
          <ac:chgData name="HALISDEMIR, Ufuk" userId="569d8f73-9a2b-46ed-81f6-ad4d857e353e" providerId="ADAL" clId="{881F6775-A9F9-4651-8C82-66FC0DB75F96}" dt="2022-09-30T09:15:09.377" v="59" actId="313"/>
          <ac:spMkLst>
            <pc:docMk/>
            <pc:sldMk cId="3210250137" sldId="1060"/>
            <ac:spMk id="11" creationId="{33940544-1F8D-47E0-8BF8-BEED038F26D9}"/>
          </ac:spMkLst>
        </pc:spChg>
      </pc:sldChg>
      <pc:sldChg chg="add">
        <pc:chgData name="HALISDEMIR, Ufuk" userId="569d8f73-9a2b-46ed-81f6-ad4d857e353e" providerId="ADAL" clId="{881F6775-A9F9-4651-8C82-66FC0DB75F96}" dt="2022-09-30T12:19:44.075" v="913"/>
        <pc:sldMkLst>
          <pc:docMk/>
          <pc:sldMk cId="547436763" sldId="1062"/>
        </pc:sldMkLst>
      </pc:sldChg>
      <pc:sldChg chg="del">
        <pc:chgData name="HALISDEMIR, Ufuk" userId="569d8f73-9a2b-46ed-81f6-ad4d857e353e" providerId="ADAL" clId="{881F6775-A9F9-4651-8C82-66FC0DB75F96}" dt="2022-09-30T13:13:09.006" v="1011" actId="47"/>
        <pc:sldMkLst>
          <pc:docMk/>
          <pc:sldMk cId="2541206949" sldId="1063"/>
        </pc:sldMkLst>
      </pc:sldChg>
      <pc:sldChg chg="del">
        <pc:chgData name="HALISDEMIR, Ufuk" userId="569d8f73-9a2b-46ed-81f6-ad4d857e353e" providerId="ADAL" clId="{881F6775-A9F9-4651-8C82-66FC0DB75F96}" dt="2022-09-30T13:13:09.006" v="1011" actId="47"/>
        <pc:sldMkLst>
          <pc:docMk/>
          <pc:sldMk cId="3962664983" sldId="1064"/>
        </pc:sldMkLst>
      </pc:sldChg>
      <pc:sldChg chg="del">
        <pc:chgData name="HALISDEMIR, Ufuk" userId="569d8f73-9a2b-46ed-81f6-ad4d857e353e" providerId="ADAL" clId="{881F6775-A9F9-4651-8C82-66FC0DB75F96}" dt="2022-09-30T13:13:09.006" v="1011" actId="47"/>
        <pc:sldMkLst>
          <pc:docMk/>
          <pc:sldMk cId="264805041" sldId="1065"/>
        </pc:sldMkLst>
      </pc:sldChg>
      <pc:sldChg chg="del">
        <pc:chgData name="HALISDEMIR, Ufuk" userId="569d8f73-9a2b-46ed-81f6-ad4d857e353e" providerId="ADAL" clId="{881F6775-A9F9-4651-8C82-66FC0DB75F96}" dt="2022-09-30T13:13:09.006" v="1011" actId="47"/>
        <pc:sldMkLst>
          <pc:docMk/>
          <pc:sldMk cId="3066044240" sldId="1066"/>
        </pc:sldMkLst>
      </pc:sldChg>
      <pc:sldChg chg="del">
        <pc:chgData name="HALISDEMIR, Ufuk" userId="569d8f73-9a2b-46ed-81f6-ad4d857e353e" providerId="ADAL" clId="{881F6775-A9F9-4651-8C82-66FC0DB75F96}" dt="2022-09-30T13:13:09.006" v="1011" actId="47"/>
        <pc:sldMkLst>
          <pc:docMk/>
          <pc:sldMk cId="471546367" sldId="1067"/>
        </pc:sldMkLst>
      </pc:sldChg>
      <pc:sldChg chg="del">
        <pc:chgData name="HALISDEMIR, Ufuk" userId="569d8f73-9a2b-46ed-81f6-ad4d857e353e" providerId="ADAL" clId="{881F6775-A9F9-4651-8C82-66FC0DB75F96}" dt="2022-09-30T13:13:09.006" v="1011" actId="47"/>
        <pc:sldMkLst>
          <pc:docMk/>
          <pc:sldMk cId="2523662246" sldId="1069"/>
        </pc:sldMkLst>
      </pc:sldChg>
      <pc:sldChg chg="addSp delSp modSp add mod delAnim">
        <pc:chgData name="HALISDEMIR, Ufuk" userId="569d8f73-9a2b-46ed-81f6-ad4d857e353e" providerId="ADAL" clId="{881F6775-A9F9-4651-8C82-66FC0DB75F96}" dt="2022-09-30T13:27:41.743" v="1068" actId="164"/>
        <pc:sldMkLst>
          <pc:docMk/>
          <pc:sldMk cId="1367762776" sldId="1070"/>
        </pc:sldMkLst>
        <pc:spChg chg="add del mod">
          <ac:chgData name="HALISDEMIR, Ufuk" userId="569d8f73-9a2b-46ed-81f6-ad4d857e353e" providerId="ADAL" clId="{881F6775-A9F9-4651-8C82-66FC0DB75F96}" dt="2022-09-30T13:25:39.130" v="1036" actId="478"/>
          <ac:spMkLst>
            <pc:docMk/>
            <pc:sldMk cId="1367762776" sldId="1070"/>
            <ac:spMk id="2" creationId="{F2E381EA-14C3-40C0-84D0-BE766AA1A03A}"/>
          </ac:spMkLst>
        </pc:spChg>
        <pc:spChg chg="add del mod topLvl">
          <ac:chgData name="HALISDEMIR, Ufuk" userId="569d8f73-9a2b-46ed-81f6-ad4d857e353e" providerId="ADAL" clId="{881F6775-A9F9-4651-8C82-66FC0DB75F96}" dt="2022-09-30T13:26:35.877" v="1045" actId="478"/>
          <ac:spMkLst>
            <pc:docMk/>
            <pc:sldMk cId="1367762776" sldId="1070"/>
            <ac:spMk id="3" creationId="{2E9BEF98-1CFC-4D5F-9203-678A060BD1C3}"/>
          </ac:spMkLst>
        </pc:spChg>
        <pc:spChg chg="mod">
          <ac:chgData name="HALISDEMIR, Ufuk" userId="569d8f73-9a2b-46ed-81f6-ad4d857e353e" providerId="ADAL" clId="{881F6775-A9F9-4651-8C82-66FC0DB75F96}" dt="2022-09-30T12:40:41.690" v="959" actId="20577"/>
          <ac:spMkLst>
            <pc:docMk/>
            <pc:sldMk cId="1367762776" sldId="1070"/>
            <ac:spMk id="6" creationId="{E482BA12-3A35-4618-96A3-96CA78B2BF34}"/>
          </ac:spMkLst>
        </pc:spChg>
        <pc:spChg chg="add mod">
          <ac:chgData name="HALISDEMIR, Ufuk" userId="569d8f73-9a2b-46ed-81f6-ad4d857e353e" providerId="ADAL" clId="{881F6775-A9F9-4651-8C82-66FC0DB75F96}" dt="2022-09-30T13:27:21.910" v="1057" actId="1076"/>
          <ac:spMkLst>
            <pc:docMk/>
            <pc:sldMk cId="1367762776" sldId="1070"/>
            <ac:spMk id="7" creationId="{8B85C003-E7EC-40DD-973F-4BD9BC219CEC}"/>
          </ac:spMkLst>
        </pc:spChg>
        <pc:spChg chg="add mod">
          <ac:chgData name="HALISDEMIR, Ufuk" userId="569d8f73-9a2b-46ed-81f6-ad4d857e353e" providerId="ADAL" clId="{881F6775-A9F9-4651-8C82-66FC0DB75F96}" dt="2022-09-30T13:27:41.743" v="1068" actId="164"/>
          <ac:spMkLst>
            <pc:docMk/>
            <pc:sldMk cId="1367762776" sldId="1070"/>
            <ac:spMk id="11" creationId="{16C1C89A-5A39-464E-89A4-9BE1CCC214DB}"/>
          </ac:spMkLst>
        </pc:spChg>
        <pc:spChg chg="del">
          <ac:chgData name="HALISDEMIR, Ufuk" userId="569d8f73-9a2b-46ed-81f6-ad4d857e353e" providerId="ADAL" clId="{881F6775-A9F9-4651-8C82-66FC0DB75F96}" dt="2022-09-30T12:40:32.613" v="946" actId="478"/>
          <ac:spMkLst>
            <pc:docMk/>
            <pc:sldMk cId="1367762776" sldId="1070"/>
            <ac:spMk id="24" creationId="{EBB8104D-DE26-4A11-9163-1A8C184A287A}"/>
          </ac:spMkLst>
        </pc:spChg>
        <pc:spChg chg="del">
          <ac:chgData name="HALISDEMIR, Ufuk" userId="569d8f73-9a2b-46ed-81f6-ad4d857e353e" providerId="ADAL" clId="{881F6775-A9F9-4651-8C82-66FC0DB75F96}" dt="2022-09-30T12:40:32.613" v="946" actId="478"/>
          <ac:spMkLst>
            <pc:docMk/>
            <pc:sldMk cId="1367762776" sldId="1070"/>
            <ac:spMk id="33" creationId="{4FA0DE09-ACB3-4D6D-9AE4-EFAF8EF2FEEB}"/>
          </ac:spMkLst>
        </pc:spChg>
        <pc:spChg chg="del">
          <ac:chgData name="HALISDEMIR, Ufuk" userId="569d8f73-9a2b-46ed-81f6-ad4d857e353e" providerId="ADAL" clId="{881F6775-A9F9-4651-8C82-66FC0DB75F96}" dt="2022-09-30T12:40:32.613" v="946" actId="478"/>
          <ac:spMkLst>
            <pc:docMk/>
            <pc:sldMk cId="1367762776" sldId="1070"/>
            <ac:spMk id="54" creationId="{8C0F1045-A0A6-409F-BDFC-77FE207F0BEF}"/>
          </ac:spMkLst>
        </pc:spChg>
        <pc:spChg chg="del">
          <ac:chgData name="HALISDEMIR, Ufuk" userId="569d8f73-9a2b-46ed-81f6-ad4d857e353e" providerId="ADAL" clId="{881F6775-A9F9-4651-8C82-66FC0DB75F96}" dt="2022-09-30T12:40:32.613" v="946" actId="478"/>
          <ac:spMkLst>
            <pc:docMk/>
            <pc:sldMk cId="1367762776" sldId="1070"/>
            <ac:spMk id="62" creationId="{0BEBE1FE-E684-457A-A561-CEEB87D27838}"/>
          </ac:spMkLst>
        </pc:spChg>
        <pc:spChg chg="del">
          <ac:chgData name="HALISDEMIR, Ufuk" userId="569d8f73-9a2b-46ed-81f6-ad4d857e353e" providerId="ADAL" clId="{881F6775-A9F9-4651-8C82-66FC0DB75F96}" dt="2022-09-30T12:40:32.613" v="946" actId="478"/>
          <ac:spMkLst>
            <pc:docMk/>
            <pc:sldMk cId="1367762776" sldId="1070"/>
            <ac:spMk id="70" creationId="{900C5C38-96F5-4FE6-953A-764FB74DCD9A}"/>
          </ac:spMkLst>
        </pc:spChg>
        <pc:spChg chg="del">
          <ac:chgData name="HALISDEMIR, Ufuk" userId="569d8f73-9a2b-46ed-81f6-ad4d857e353e" providerId="ADAL" clId="{881F6775-A9F9-4651-8C82-66FC0DB75F96}" dt="2022-09-30T12:40:32.613" v="946" actId="478"/>
          <ac:spMkLst>
            <pc:docMk/>
            <pc:sldMk cId="1367762776" sldId="1070"/>
            <ac:spMk id="73" creationId="{5C796378-CE36-41FC-BC8A-03D4AF3E33E3}"/>
          </ac:spMkLst>
        </pc:spChg>
        <pc:spChg chg="del">
          <ac:chgData name="HALISDEMIR, Ufuk" userId="569d8f73-9a2b-46ed-81f6-ad4d857e353e" providerId="ADAL" clId="{881F6775-A9F9-4651-8C82-66FC0DB75F96}" dt="2022-09-30T12:40:32.613" v="946" actId="478"/>
          <ac:spMkLst>
            <pc:docMk/>
            <pc:sldMk cId="1367762776" sldId="1070"/>
            <ac:spMk id="81" creationId="{8FF4A0CB-927C-4C52-AB88-9D8FE2BD583C}"/>
          </ac:spMkLst>
        </pc:spChg>
        <pc:spChg chg="del">
          <ac:chgData name="HALISDEMIR, Ufuk" userId="569d8f73-9a2b-46ed-81f6-ad4d857e353e" providerId="ADAL" clId="{881F6775-A9F9-4651-8C82-66FC0DB75F96}" dt="2022-09-30T12:40:32.613" v="946" actId="478"/>
          <ac:spMkLst>
            <pc:docMk/>
            <pc:sldMk cId="1367762776" sldId="1070"/>
            <ac:spMk id="82" creationId="{2A27CA1E-3010-44DA-95F8-618415DF9D4A}"/>
          </ac:spMkLst>
        </pc:spChg>
        <pc:spChg chg="del">
          <ac:chgData name="HALISDEMIR, Ufuk" userId="569d8f73-9a2b-46ed-81f6-ad4d857e353e" providerId="ADAL" clId="{881F6775-A9F9-4651-8C82-66FC0DB75F96}" dt="2022-09-30T12:40:32.613" v="946" actId="478"/>
          <ac:spMkLst>
            <pc:docMk/>
            <pc:sldMk cId="1367762776" sldId="1070"/>
            <ac:spMk id="83" creationId="{9C1DBB98-D9DC-48A1-A3C0-F9FA2C078263}"/>
          </ac:spMkLst>
        </pc:spChg>
        <pc:spChg chg="del">
          <ac:chgData name="HALISDEMIR, Ufuk" userId="569d8f73-9a2b-46ed-81f6-ad4d857e353e" providerId="ADAL" clId="{881F6775-A9F9-4651-8C82-66FC0DB75F96}" dt="2022-09-30T12:40:32.613" v="946" actId="478"/>
          <ac:spMkLst>
            <pc:docMk/>
            <pc:sldMk cId="1367762776" sldId="1070"/>
            <ac:spMk id="84" creationId="{5623F6B7-147D-4058-8BE9-2EA7FBAE0C64}"/>
          </ac:spMkLst>
        </pc:spChg>
        <pc:spChg chg="del">
          <ac:chgData name="HALISDEMIR, Ufuk" userId="569d8f73-9a2b-46ed-81f6-ad4d857e353e" providerId="ADAL" clId="{881F6775-A9F9-4651-8C82-66FC0DB75F96}" dt="2022-09-30T12:40:32.613" v="946" actId="478"/>
          <ac:spMkLst>
            <pc:docMk/>
            <pc:sldMk cId="1367762776" sldId="1070"/>
            <ac:spMk id="85" creationId="{BF9F1F2E-BDD5-4E89-B215-060BE048FBCF}"/>
          </ac:spMkLst>
        </pc:spChg>
        <pc:spChg chg="del">
          <ac:chgData name="HALISDEMIR, Ufuk" userId="569d8f73-9a2b-46ed-81f6-ad4d857e353e" providerId="ADAL" clId="{881F6775-A9F9-4651-8C82-66FC0DB75F96}" dt="2022-09-30T12:40:32.613" v="946" actId="478"/>
          <ac:spMkLst>
            <pc:docMk/>
            <pc:sldMk cId="1367762776" sldId="1070"/>
            <ac:spMk id="86" creationId="{998DD6B0-7CE9-4914-B6DA-9C0A2F537942}"/>
          </ac:spMkLst>
        </pc:spChg>
        <pc:spChg chg="del">
          <ac:chgData name="HALISDEMIR, Ufuk" userId="569d8f73-9a2b-46ed-81f6-ad4d857e353e" providerId="ADAL" clId="{881F6775-A9F9-4651-8C82-66FC0DB75F96}" dt="2022-09-30T12:40:32.613" v="946" actId="478"/>
          <ac:spMkLst>
            <pc:docMk/>
            <pc:sldMk cId="1367762776" sldId="1070"/>
            <ac:spMk id="87" creationId="{C3735416-5760-4EC7-B391-315A90E53280}"/>
          </ac:spMkLst>
        </pc:spChg>
        <pc:spChg chg="add del mod">
          <ac:chgData name="HALISDEMIR, Ufuk" userId="569d8f73-9a2b-46ed-81f6-ad4d857e353e" providerId="ADAL" clId="{881F6775-A9F9-4651-8C82-66FC0DB75F96}" dt="2022-09-30T13:26:31.877" v="1044" actId="478"/>
          <ac:spMkLst>
            <pc:docMk/>
            <pc:sldMk cId="1367762776" sldId="1070"/>
            <ac:spMk id="89" creationId="{A3FEF364-E6CD-42CD-8E25-5F026D9DFD2F}"/>
          </ac:spMkLst>
        </pc:spChg>
        <pc:spChg chg="add mod">
          <ac:chgData name="HALISDEMIR, Ufuk" userId="569d8f73-9a2b-46ed-81f6-ad4d857e353e" providerId="ADAL" clId="{881F6775-A9F9-4651-8C82-66FC0DB75F96}" dt="2022-09-30T13:27:21.910" v="1057" actId="1076"/>
          <ac:spMkLst>
            <pc:docMk/>
            <pc:sldMk cId="1367762776" sldId="1070"/>
            <ac:spMk id="90" creationId="{C15006D1-80F1-485F-8F32-465ED889F075}"/>
          </ac:spMkLst>
        </pc:spChg>
        <pc:grpChg chg="add del mod">
          <ac:chgData name="HALISDEMIR, Ufuk" userId="569d8f73-9a2b-46ed-81f6-ad4d857e353e" providerId="ADAL" clId="{881F6775-A9F9-4651-8C82-66FC0DB75F96}" dt="2022-09-30T13:26:35.877" v="1045" actId="478"/>
          <ac:grpSpMkLst>
            <pc:docMk/>
            <pc:sldMk cId="1367762776" sldId="1070"/>
            <ac:grpSpMk id="4" creationId="{AA6CF82A-325A-4CD5-BA90-1EBD1B557BD1}"/>
          </ac:grpSpMkLst>
        </pc:grpChg>
        <pc:grpChg chg="add mod">
          <ac:chgData name="HALISDEMIR, Ufuk" userId="569d8f73-9a2b-46ed-81f6-ad4d857e353e" providerId="ADAL" clId="{881F6775-A9F9-4651-8C82-66FC0DB75F96}" dt="2022-09-30T13:27:41.743" v="1068" actId="164"/>
          <ac:grpSpMkLst>
            <pc:docMk/>
            <pc:sldMk cId="1367762776" sldId="1070"/>
            <ac:grpSpMk id="8" creationId="{67981605-FF5B-4F39-AA7D-717B1BCDB7AA}"/>
          </ac:grpSpMkLst>
        </pc:grpChg>
        <pc:grpChg chg="add mod">
          <ac:chgData name="HALISDEMIR, Ufuk" userId="569d8f73-9a2b-46ed-81f6-ad4d857e353e" providerId="ADAL" clId="{881F6775-A9F9-4651-8C82-66FC0DB75F96}" dt="2022-09-30T13:27:41.743" v="1068" actId="164"/>
          <ac:grpSpMkLst>
            <pc:docMk/>
            <pc:sldMk cId="1367762776" sldId="1070"/>
            <ac:grpSpMk id="12" creationId="{37E1FFFD-1991-46E8-9774-2A3534D47CDC}"/>
          </ac:grpSpMkLst>
        </pc:grpChg>
        <pc:grpChg chg="del">
          <ac:chgData name="HALISDEMIR, Ufuk" userId="569d8f73-9a2b-46ed-81f6-ad4d857e353e" providerId="ADAL" clId="{881F6775-A9F9-4651-8C82-66FC0DB75F96}" dt="2022-09-30T12:40:32.613" v="946" actId="478"/>
          <ac:grpSpMkLst>
            <pc:docMk/>
            <pc:sldMk cId="1367762776" sldId="1070"/>
            <ac:grpSpMk id="25" creationId="{D62E94F5-900D-4CD1-9A08-DEAB3C278F70}"/>
          </ac:grpSpMkLst>
        </pc:grpChg>
        <pc:grpChg chg="del">
          <ac:chgData name="HALISDEMIR, Ufuk" userId="569d8f73-9a2b-46ed-81f6-ad4d857e353e" providerId="ADAL" clId="{881F6775-A9F9-4651-8C82-66FC0DB75F96}" dt="2022-09-30T12:40:32.613" v="946" actId="478"/>
          <ac:grpSpMkLst>
            <pc:docMk/>
            <pc:sldMk cId="1367762776" sldId="1070"/>
            <ac:grpSpMk id="63" creationId="{EA1B98DE-587B-4E01-B499-AD3812AD4220}"/>
          </ac:grpSpMkLst>
        </pc:grpChg>
        <pc:picChg chg="add mod">
          <ac:chgData name="HALISDEMIR, Ufuk" userId="569d8f73-9a2b-46ed-81f6-ad4d857e353e" providerId="ADAL" clId="{881F6775-A9F9-4651-8C82-66FC0DB75F96}" dt="2022-09-30T12:41:03.827" v="962" actId="1076"/>
          <ac:picMkLst>
            <pc:docMk/>
            <pc:sldMk cId="1367762776" sldId="1070"/>
            <ac:picMk id="51" creationId="{333F044D-6D9B-4226-93DB-3E1B19AF9B49}"/>
          </ac:picMkLst>
        </pc:picChg>
        <pc:picChg chg="add del mod">
          <ac:chgData name="HALISDEMIR, Ufuk" userId="569d8f73-9a2b-46ed-81f6-ad4d857e353e" providerId="ADAL" clId="{881F6775-A9F9-4651-8C82-66FC0DB75F96}" dt="2022-09-30T13:25:09.291" v="1030" actId="478"/>
          <ac:picMkLst>
            <pc:docMk/>
            <pc:sldMk cId="1367762776" sldId="1070"/>
            <ac:picMk id="88" creationId="{03D8A6FE-CF07-4151-9758-F808324307C2}"/>
          </ac:picMkLst>
        </pc:picChg>
        <pc:picChg chg="add mod topLvl">
          <ac:chgData name="HALISDEMIR, Ufuk" userId="569d8f73-9a2b-46ed-81f6-ad4d857e353e" providerId="ADAL" clId="{881F6775-A9F9-4651-8C82-66FC0DB75F96}" dt="2022-09-30T13:27:21.910" v="1057" actId="1076"/>
          <ac:picMkLst>
            <pc:docMk/>
            <pc:sldMk cId="1367762776" sldId="1070"/>
            <ac:picMk id="6146" creationId="{A0FCBFC3-7FFB-4804-BC0F-39B2599FE7CC}"/>
          </ac:picMkLst>
        </pc:picChg>
        <pc:cxnChg chg="add mod">
          <ac:chgData name="HALISDEMIR, Ufuk" userId="569d8f73-9a2b-46ed-81f6-ad4d857e353e" providerId="ADAL" clId="{881F6775-A9F9-4651-8C82-66FC0DB75F96}" dt="2022-09-30T13:27:41.743" v="1068" actId="164"/>
          <ac:cxnSpMkLst>
            <pc:docMk/>
            <pc:sldMk cId="1367762776" sldId="1070"/>
            <ac:cxnSpMk id="10" creationId="{CA66B616-DE43-4EC3-BC65-4969C89DC3E1}"/>
          </ac:cxnSpMkLst>
        </pc:cxnChg>
        <pc:cxnChg chg="del">
          <ac:chgData name="HALISDEMIR, Ufuk" userId="569d8f73-9a2b-46ed-81f6-ad4d857e353e" providerId="ADAL" clId="{881F6775-A9F9-4651-8C82-66FC0DB75F96}" dt="2022-09-30T12:40:32.613" v="946" actId="478"/>
          <ac:cxnSpMkLst>
            <pc:docMk/>
            <pc:sldMk cId="1367762776" sldId="1070"/>
            <ac:cxnSpMk id="34" creationId="{0E893764-D554-4402-8D9F-78BE37827E5C}"/>
          </ac:cxnSpMkLst>
        </pc:cxnChg>
        <pc:cxnChg chg="del">
          <ac:chgData name="HALISDEMIR, Ufuk" userId="569d8f73-9a2b-46ed-81f6-ad4d857e353e" providerId="ADAL" clId="{881F6775-A9F9-4651-8C82-66FC0DB75F96}" dt="2022-09-30T12:40:32.613" v="946" actId="478"/>
          <ac:cxnSpMkLst>
            <pc:docMk/>
            <pc:sldMk cId="1367762776" sldId="1070"/>
            <ac:cxnSpMk id="52" creationId="{A993AB5F-5611-4291-8D5F-53A8CC1DB041}"/>
          </ac:cxnSpMkLst>
        </pc:cxnChg>
        <pc:cxnChg chg="del">
          <ac:chgData name="HALISDEMIR, Ufuk" userId="569d8f73-9a2b-46ed-81f6-ad4d857e353e" providerId="ADAL" clId="{881F6775-A9F9-4651-8C82-66FC0DB75F96}" dt="2022-09-30T12:40:32.613" v="946" actId="478"/>
          <ac:cxnSpMkLst>
            <pc:docMk/>
            <pc:sldMk cId="1367762776" sldId="1070"/>
            <ac:cxnSpMk id="53" creationId="{64BBFC16-4969-497E-9F68-A60A8863F60B}"/>
          </ac:cxnSpMkLst>
        </pc:cxnChg>
        <pc:cxnChg chg="del">
          <ac:chgData name="HALISDEMIR, Ufuk" userId="569d8f73-9a2b-46ed-81f6-ad4d857e353e" providerId="ADAL" clId="{881F6775-A9F9-4651-8C82-66FC0DB75F96}" dt="2022-09-30T12:40:32.613" v="946" actId="478"/>
          <ac:cxnSpMkLst>
            <pc:docMk/>
            <pc:sldMk cId="1367762776" sldId="1070"/>
            <ac:cxnSpMk id="55" creationId="{A5DF70B9-3ACD-4DBC-A9EA-64B8B3A2519B}"/>
          </ac:cxnSpMkLst>
        </pc:cxnChg>
        <pc:cxnChg chg="del">
          <ac:chgData name="HALISDEMIR, Ufuk" userId="569d8f73-9a2b-46ed-81f6-ad4d857e353e" providerId="ADAL" clId="{881F6775-A9F9-4651-8C82-66FC0DB75F96}" dt="2022-09-30T12:40:32.613" v="946" actId="478"/>
          <ac:cxnSpMkLst>
            <pc:docMk/>
            <pc:sldMk cId="1367762776" sldId="1070"/>
            <ac:cxnSpMk id="56" creationId="{D5978D06-60B9-4C9E-84D5-9C6FF705CB27}"/>
          </ac:cxnSpMkLst>
        </pc:cxnChg>
        <pc:cxnChg chg="del">
          <ac:chgData name="HALISDEMIR, Ufuk" userId="569d8f73-9a2b-46ed-81f6-ad4d857e353e" providerId="ADAL" clId="{881F6775-A9F9-4651-8C82-66FC0DB75F96}" dt="2022-09-30T12:40:32.613" v="946" actId="478"/>
          <ac:cxnSpMkLst>
            <pc:docMk/>
            <pc:sldMk cId="1367762776" sldId="1070"/>
            <ac:cxnSpMk id="57" creationId="{4EE63506-9BD1-4E2D-ADC4-F371569BD3ED}"/>
          </ac:cxnSpMkLst>
        </pc:cxnChg>
        <pc:cxnChg chg="del">
          <ac:chgData name="HALISDEMIR, Ufuk" userId="569d8f73-9a2b-46ed-81f6-ad4d857e353e" providerId="ADAL" clId="{881F6775-A9F9-4651-8C82-66FC0DB75F96}" dt="2022-09-30T12:40:32.613" v="946" actId="478"/>
          <ac:cxnSpMkLst>
            <pc:docMk/>
            <pc:sldMk cId="1367762776" sldId="1070"/>
            <ac:cxnSpMk id="58" creationId="{C192BF5F-BEFB-4384-AC79-44740A1DD17F}"/>
          </ac:cxnSpMkLst>
        </pc:cxnChg>
        <pc:cxnChg chg="del">
          <ac:chgData name="HALISDEMIR, Ufuk" userId="569d8f73-9a2b-46ed-81f6-ad4d857e353e" providerId="ADAL" clId="{881F6775-A9F9-4651-8C82-66FC0DB75F96}" dt="2022-09-30T12:40:32.613" v="946" actId="478"/>
          <ac:cxnSpMkLst>
            <pc:docMk/>
            <pc:sldMk cId="1367762776" sldId="1070"/>
            <ac:cxnSpMk id="59" creationId="{62BBCF1C-B982-4127-A644-0036B49BC4DF}"/>
          </ac:cxnSpMkLst>
        </pc:cxnChg>
        <pc:cxnChg chg="del">
          <ac:chgData name="HALISDEMIR, Ufuk" userId="569d8f73-9a2b-46ed-81f6-ad4d857e353e" providerId="ADAL" clId="{881F6775-A9F9-4651-8C82-66FC0DB75F96}" dt="2022-09-30T12:40:32.613" v="946" actId="478"/>
          <ac:cxnSpMkLst>
            <pc:docMk/>
            <pc:sldMk cId="1367762776" sldId="1070"/>
            <ac:cxnSpMk id="60" creationId="{3FA93626-89FF-44E5-8777-CAF1242B068A}"/>
          </ac:cxnSpMkLst>
        </pc:cxnChg>
        <pc:cxnChg chg="del">
          <ac:chgData name="HALISDEMIR, Ufuk" userId="569d8f73-9a2b-46ed-81f6-ad4d857e353e" providerId="ADAL" clId="{881F6775-A9F9-4651-8C82-66FC0DB75F96}" dt="2022-09-30T12:40:32.613" v="946" actId="478"/>
          <ac:cxnSpMkLst>
            <pc:docMk/>
            <pc:sldMk cId="1367762776" sldId="1070"/>
            <ac:cxnSpMk id="61" creationId="{DC2E0B0F-62C5-4072-9ABF-37BE78CE69CD}"/>
          </ac:cxnSpMkLst>
        </pc:cxnChg>
        <pc:cxnChg chg="del">
          <ac:chgData name="HALISDEMIR, Ufuk" userId="569d8f73-9a2b-46ed-81f6-ad4d857e353e" providerId="ADAL" clId="{881F6775-A9F9-4651-8C82-66FC0DB75F96}" dt="2022-09-30T12:40:32.613" v="946" actId="478"/>
          <ac:cxnSpMkLst>
            <pc:docMk/>
            <pc:sldMk cId="1367762776" sldId="1070"/>
            <ac:cxnSpMk id="71" creationId="{192F94F1-3189-4373-9CFC-67BC86261DD7}"/>
          </ac:cxnSpMkLst>
        </pc:cxnChg>
        <pc:cxnChg chg="del">
          <ac:chgData name="HALISDEMIR, Ufuk" userId="569d8f73-9a2b-46ed-81f6-ad4d857e353e" providerId="ADAL" clId="{881F6775-A9F9-4651-8C82-66FC0DB75F96}" dt="2022-09-30T12:40:32.613" v="946" actId="478"/>
          <ac:cxnSpMkLst>
            <pc:docMk/>
            <pc:sldMk cId="1367762776" sldId="1070"/>
            <ac:cxnSpMk id="72" creationId="{03A3B626-BAF3-44E0-8874-01D11F1FEE95}"/>
          </ac:cxnSpMkLst>
        </pc:cxnChg>
        <pc:cxnChg chg="del">
          <ac:chgData name="HALISDEMIR, Ufuk" userId="569d8f73-9a2b-46ed-81f6-ad4d857e353e" providerId="ADAL" clId="{881F6775-A9F9-4651-8C82-66FC0DB75F96}" dt="2022-09-30T12:40:32.613" v="946" actId="478"/>
          <ac:cxnSpMkLst>
            <pc:docMk/>
            <pc:sldMk cId="1367762776" sldId="1070"/>
            <ac:cxnSpMk id="74" creationId="{E9E7D31A-F902-4BDC-9086-CBF0C5D06642}"/>
          </ac:cxnSpMkLst>
        </pc:cxnChg>
        <pc:cxnChg chg="del">
          <ac:chgData name="HALISDEMIR, Ufuk" userId="569d8f73-9a2b-46ed-81f6-ad4d857e353e" providerId="ADAL" clId="{881F6775-A9F9-4651-8C82-66FC0DB75F96}" dt="2022-09-30T12:40:32.613" v="946" actId="478"/>
          <ac:cxnSpMkLst>
            <pc:docMk/>
            <pc:sldMk cId="1367762776" sldId="1070"/>
            <ac:cxnSpMk id="75" creationId="{E18C83D7-B73B-4573-A5F1-195DCAD8D29E}"/>
          </ac:cxnSpMkLst>
        </pc:cxnChg>
        <pc:cxnChg chg="del">
          <ac:chgData name="HALISDEMIR, Ufuk" userId="569d8f73-9a2b-46ed-81f6-ad4d857e353e" providerId="ADAL" clId="{881F6775-A9F9-4651-8C82-66FC0DB75F96}" dt="2022-09-30T12:40:32.613" v="946" actId="478"/>
          <ac:cxnSpMkLst>
            <pc:docMk/>
            <pc:sldMk cId="1367762776" sldId="1070"/>
            <ac:cxnSpMk id="76" creationId="{CB077455-23E6-4A83-9A0E-8940148909A1}"/>
          </ac:cxnSpMkLst>
        </pc:cxnChg>
        <pc:cxnChg chg="del">
          <ac:chgData name="HALISDEMIR, Ufuk" userId="569d8f73-9a2b-46ed-81f6-ad4d857e353e" providerId="ADAL" clId="{881F6775-A9F9-4651-8C82-66FC0DB75F96}" dt="2022-09-30T12:40:32.613" v="946" actId="478"/>
          <ac:cxnSpMkLst>
            <pc:docMk/>
            <pc:sldMk cId="1367762776" sldId="1070"/>
            <ac:cxnSpMk id="77" creationId="{499FC1FE-E2FB-4987-9240-DB5013C5F451}"/>
          </ac:cxnSpMkLst>
        </pc:cxnChg>
        <pc:cxnChg chg="del">
          <ac:chgData name="HALISDEMIR, Ufuk" userId="569d8f73-9a2b-46ed-81f6-ad4d857e353e" providerId="ADAL" clId="{881F6775-A9F9-4651-8C82-66FC0DB75F96}" dt="2022-09-30T12:40:32.613" v="946" actId="478"/>
          <ac:cxnSpMkLst>
            <pc:docMk/>
            <pc:sldMk cId="1367762776" sldId="1070"/>
            <ac:cxnSpMk id="78" creationId="{0DD4D018-CEA6-4229-A854-EB007332401D}"/>
          </ac:cxnSpMkLst>
        </pc:cxnChg>
        <pc:cxnChg chg="del">
          <ac:chgData name="HALISDEMIR, Ufuk" userId="569d8f73-9a2b-46ed-81f6-ad4d857e353e" providerId="ADAL" clId="{881F6775-A9F9-4651-8C82-66FC0DB75F96}" dt="2022-09-30T12:40:32.613" v="946" actId="478"/>
          <ac:cxnSpMkLst>
            <pc:docMk/>
            <pc:sldMk cId="1367762776" sldId="1070"/>
            <ac:cxnSpMk id="79" creationId="{7476F8FD-5245-43A2-BA8C-1223261CEDFB}"/>
          </ac:cxnSpMkLst>
        </pc:cxnChg>
        <pc:cxnChg chg="del">
          <ac:chgData name="HALISDEMIR, Ufuk" userId="569d8f73-9a2b-46ed-81f6-ad4d857e353e" providerId="ADAL" clId="{881F6775-A9F9-4651-8C82-66FC0DB75F96}" dt="2022-09-30T12:40:32.613" v="946" actId="478"/>
          <ac:cxnSpMkLst>
            <pc:docMk/>
            <pc:sldMk cId="1367762776" sldId="1070"/>
            <ac:cxnSpMk id="80" creationId="{6B1B7A7E-1388-4F51-A529-1084DD68048D}"/>
          </ac:cxnSpMkLst>
        </pc:cxnChg>
      </pc:sldChg>
      <pc:sldChg chg="del">
        <pc:chgData name="HALISDEMIR, Ufuk" userId="569d8f73-9a2b-46ed-81f6-ad4d857e353e" providerId="ADAL" clId="{881F6775-A9F9-4651-8C82-66FC0DB75F96}" dt="2022-09-30T13:13:09.006" v="1011" actId="47"/>
        <pc:sldMkLst>
          <pc:docMk/>
          <pc:sldMk cId="3184038393" sldId="1071"/>
        </pc:sldMkLst>
      </pc:sldChg>
      <pc:sldChg chg="del">
        <pc:chgData name="HALISDEMIR, Ufuk" userId="569d8f73-9a2b-46ed-81f6-ad4d857e353e" providerId="ADAL" clId="{881F6775-A9F9-4651-8C82-66FC0DB75F96}" dt="2022-09-30T13:13:09.006" v="1011" actId="47"/>
        <pc:sldMkLst>
          <pc:docMk/>
          <pc:sldMk cId="2361163735" sldId="1072"/>
        </pc:sldMkLst>
      </pc:sldChg>
      <pc:sldChg chg="del">
        <pc:chgData name="HALISDEMIR, Ufuk" userId="569d8f73-9a2b-46ed-81f6-ad4d857e353e" providerId="ADAL" clId="{881F6775-A9F9-4651-8C82-66FC0DB75F96}" dt="2022-09-30T13:13:09.006" v="1011" actId="47"/>
        <pc:sldMkLst>
          <pc:docMk/>
          <pc:sldMk cId="3602783287" sldId="1073"/>
        </pc:sldMkLst>
      </pc:sldChg>
      <pc:sldChg chg="del">
        <pc:chgData name="HALISDEMIR, Ufuk" userId="569d8f73-9a2b-46ed-81f6-ad4d857e353e" providerId="ADAL" clId="{881F6775-A9F9-4651-8C82-66FC0DB75F96}" dt="2022-09-30T13:13:09.006" v="1011" actId="47"/>
        <pc:sldMkLst>
          <pc:docMk/>
          <pc:sldMk cId="3465399117" sldId="1074"/>
        </pc:sldMkLst>
      </pc:sldChg>
      <pc:sldChg chg="del">
        <pc:chgData name="HALISDEMIR, Ufuk" userId="569d8f73-9a2b-46ed-81f6-ad4d857e353e" providerId="ADAL" clId="{881F6775-A9F9-4651-8C82-66FC0DB75F96}" dt="2022-09-30T13:13:09.006" v="1011" actId="47"/>
        <pc:sldMkLst>
          <pc:docMk/>
          <pc:sldMk cId="1443548554" sldId="1075"/>
        </pc:sldMkLst>
      </pc:sldChg>
      <pc:sldChg chg="del">
        <pc:chgData name="HALISDEMIR, Ufuk" userId="569d8f73-9a2b-46ed-81f6-ad4d857e353e" providerId="ADAL" clId="{881F6775-A9F9-4651-8C82-66FC0DB75F96}" dt="2022-09-30T13:13:09.006" v="1011" actId="47"/>
        <pc:sldMkLst>
          <pc:docMk/>
          <pc:sldMk cId="2810185658" sldId="1076"/>
        </pc:sldMkLst>
      </pc:sldChg>
      <pc:sldChg chg="del">
        <pc:chgData name="HALISDEMIR, Ufuk" userId="569d8f73-9a2b-46ed-81f6-ad4d857e353e" providerId="ADAL" clId="{881F6775-A9F9-4651-8C82-66FC0DB75F96}" dt="2022-09-30T13:13:09.006" v="1011" actId="47"/>
        <pc:sldMkLst>
          <pc:docMk/>
          <pc:sldMk cId="2070292371" sldId="1077"/>
        </pc:sldMkLst>
      </pc:sldChg>
      <pc:sldChg chg="del">
        <pc:chgData name="HALISDEMIR, Ufuk" userId="569d8f73-9a2b-46ed-81f6-ad4d857e353e" providerId="ADAL" clId="{881F6775-A9F9-4651-8C82-66FC0DB75F96}" dt="2022-09-30T13:13:09.006" v="1011" actId="47"/>
        <pc:sldMkLst>
          <pc:docMk/>
          <pc:sldMk cId="2497650004" sldId="1078"/>
        </pc:sldMkLst>
      </pc:sldChg>
      <pc:sldChg chg="del">
        <pc:chgData name="HALISDEMIR, Ufuk" userId="569d8f73-9a2b-46ed-81f6-ad4d857e353e" providerId="ADAL" clId="{881F6775-A9F9-4651-8C82-66FC0DB75F96}" dt="2022-09-30T13:13:09.006" v="1011" actId="47"/>
        <pc:sldMkLst>
          <pc:docMk/>
          <pc:sldMk cId="1566518449" sldId="1079"/>
        </pc:sldMkLst>
      </pc:sldChg>
      <pc:sldChg chg="del">
        <pc:chgData name="HALISDEMIR, Ufuk" userId="569d8f73-9a2b-46ed-81f6-ad4d857e353e" providerId="ADAL" clId="{881F6775-A9F9-4651-8C82-66FC0DB75F96}" dt="2022-09-30T13:13:09.006" v="1011" actId="47"/>
        <pc:sldMkLst>
          <pc:docMk/>
          <pc:sldMk cId="1197544056" sldId="1080"/>
        </pc:sldMkLst>
      </pc:sldChg>
      <pc:sldChg chg="del">
        <pc:chgData name="HALISDEMIR, Ufuk" userId="569d8f73-9a2b-46ed-81f6-ad4d857e353e" providerId="ADAL" clId="{881F6775-A9F9-4651-8C82-66FC0DB75F96}" dt="2022-09-30T13:13:09.006" v="1011" actId="47"/>
        <pc:sldMkLst>
          <pc:docMk/>
          <pc:sldMk cId="1480098055" sldId="1081"/>
        </pc:sldMkLst>
      </pc:sldChg>
      <pc:sldChg chg="del">
        <pc:chgData name="HALISDEMIR, Ufuk" userId="569d8f73-9a2b-46ed-81f6-ad4d857e353e" providerId="ADAL" clId="{881F6775-A9F9-4651-8C82-66FC0DB75F96}" dt="2022-09-30T13:13:09.006" v="1011" actId="47"/>
        <pc:sldMkLst>
          <pc:docMk/>
          <pc:sldMk cId="2448852034" sldId="1082"/>
        </pc:sldMkLst>
      </pc:sldChg>
      <pc:sldChg chg="del">
        <pc:chgData name="HALISDEMIR, Ufuk" userId="569d8f73-9a2b-46ed-81f6-ad4d857e353e" providerId="ADAL" clId="{881F6775-A9F9-4651-8C82-66FC0DB75F96}" dt="2022-09-30T13:13:09.006" v="1011" actId="47"/>
        <pc:sldMkLst>
          <pc:docMk/>
          <pc:sldMk cId="2428325815" sldId="1083"/>
        </pc:sldMkLst>
      </pc:sldChg>
      <pc:sldChg chg="del">
        <pc:chgData name="HALISDEMIR, Ufuk" userId="569d8f73-9a2b-46ed-81f6-ad4d857e353e" providerId="ADAL" clId="{881F6775-A9F9-4651-8C82-66FC0DB75F96}" dt="2022-09-30T13:13:09.006" v="1011" actId="47"/>
        <pc:sldMkLst>
          <pc:docMk/>
          <pc:sldMk cId="1727935975" sldId="1084"/>
        </pc:sldMkLst>
      </pc:sldChg>
      <pc:sldChg chg="del">
        <pc:chgData name="HALISDEMIR, Ufuk" userId="569d8f73-9a2b-46ed-81f6-ad4d857e353e" providerId="ADAL" clId="{881F6775-A9F9-4651-8C82-66FC0DB75F96}" dt="2022-09-30T13:13:09.006" v="1011" actId="47"/>
        <pc:sldMkLst>
          <pc:docMk/>
          <pc:sldMk cId="36943549" sldId="1085"/>
        </pc:sldMkLst>
      </pc:sldChg>
      <pc:sldChg chg="del">
        <pc:chgData name="HALISDEMIR, Ufuk" userId="569d8f73-9a2b-46ed-81f6-ad4d857e353e" providerId="ADAL" clId="{881F6775-A9F9-4651-8C82-66FC0DB75F96}" dt="2022-09-30T13:13:09.006" v="1011" actId="47"/>
        <pc:sldMkLst>
          <pc:docMk/>
          <pc:sldMk cId="2471178032" sldId="1086"/>
        </pc:sldMkLst>
      </pc:sldChg>
      <pc:sldChg chg="del">
        <pc:chgData name="HALISDEMIR, Ufuk" userId="569d8f73-9a2b-46ed-81f6-ad4d857e353e" providerId="ADAL" clId="{881F6775-A9F9-4651-8C82-66FC0DB75F96}" dt="2022-09-30T13:13:09.006" v="1011" actId="47"/>
        <pc:sldMkLst>
          <pc:docMk/>
          <pc:sldMk cId="3435957548" sldId="1087"/>
        </pc:sldMkLst>
      </pc:sldChg>
      <pc:sldChg chg="del">
        <pc:chgData name="HALISDEMIR, Ufuk" userId="569d8f73-9a2b-46ed-81f6-ad4d857e353e" providerId="ADAL" clId="{881F6775-A9F9-4651-8C82-66FC0DB75F96}" dt="2022-09-30T13:13:09.006" v="1011" actId="47"/>
        <pc:sldMkLst>
          <pc:docMk/>
          <pc:sldMk cId="2035476881" sldId="1088"/>
        </pc:sldMkLst>
      </pc:sldChg>
      <pc:sldChg chg="modSp mod">
        <pc:chgData name="HALISDEMIR, Ufuk" userId="569d8f73-9a2b-46ed-81f6-ad4d857e353e" providerId="ADAL" clId="{881F6775-A9F9-4651-8C82-66FC0DB75F96}" dt="2022-09-30T13:44:29.847" v="1312" actId="20577"/>
        <pc:sldMkLst>
          <pc:docMk/>
          <pc:sldMk cId="2860177778" sldId="1090"/>
        </pc:sldMkLst>
        <pc:spChg chg="mod">
          <ac:chgData name="HALISDEMIR, Ufuk" userId="569d8f73-9a2b-46ed-81f6-ad4d857e353e" providerId="ADAL" clId="{881F6775-A9F9-4651-8C82-66FC0DB75F96}" dt="2022-09-30T13:44:29.847" v="1312" actId="20577"/>
          <ac:spMkLst>
            <pc:docMk/>
            <pc:sldMk cId="2860177778" sldId="1090"/>
            <ac:spMk id="3" creationId="{A4F01D2E-E588-48E0-AFF4-9E0D599EEEE7}"/>
          </ac:spMkLst>
        </pc:spChg>
      </pc:sldChg>
      <pc:sldChg chg="del">
        <pc:chgData name="HALISDEMIR, Ufuk" userId="569d8f73-9a2b-46ed-81f6-ad4d857e353e" providerId="ADAL" clId="{881F6775-A9F9-4651-8C82-66FC0DB75F96}" dt="2022-09-30T13:13:09.006" v="1011" actId="47"/>
        <pc:sldMkLst>
          <pc:docMk/>
          <pc:sldMk cId="2384147987" sldId="1092"/>
        </pc:sldMkLst>
      </pc:sldChg>
      <pc:sldChg chg="add">
        <pc:chgData name="HALISDEMIR, Ufuk" userId="569d8f73-9a2b-46ed-81f6-ad4d857e353e" providerId="ADAL" clId="{881F6775-A9F9-4651-8C82-66FC0DB75F96}" dt="2022-09-30T13:50:07.545" v="1314"/>
        <pc:sldMkLst>
          <pc:docMk/>
          <pc:sldMk cId="3291934556" sldId="1093"/>
        </pc:sldMkLst>
      </pc:sldChg>
      <pc:sldChg chg="modSp add mod">
        <pc:chgData name="HALISDEMIR, Ufuk" userId="569d8f73-9a2b-46ed-81f6-ad4d857e353e" providerId="ADAL" clId="{881F6775-A9F9-4651-8C82-66FC0DB75F96}" dt="2022-09-30T13:42:33.197" v="1297" actId="20577"/>
        <pc:sldMkLst>
          <pc:docMk/>
          <pc:sldMk cId="3837480437" sldId="1095"/>
        </pc:sldMkLst>
        <pc:spChg chg="mod">
          <ac:chgData name="HALISDEMIR, Ufuk" userId="569d8f73-9a2b-46ed-81f6-ad4d857e353e" providerId="ADAL" clId="{881F6775-A9F9-4651-8C82-66FC0DB75F96}" dt="2022-09-30T13:42:20.038" v="1275" actId="20577"/>
          <ac:spMkLst>
            <pc:docMk/>
            <pc:sldMk cId="3837480437" sldId="1095"/>
            <ac:spMk id="12" creationId="{63D73F40-4837-48C5-BD70-A127F798E222}"/>
          </ac:spMkLst>
        </pc:spChg>
        <pc:spChg chg="mod">
          <ac:chgData name="HALISDEMIR, Ufuk" userId="569d8f73-9a2b-46ed-81f6-ad4d857e353e" providerId="ADAL" clId="{881F6775-A9F9-4651-8C82-66FC0DB75F96}" dt="2022-09-30T13:42:33.197" v="1297" actId="20577"/>
          <ac:spMkLst>
            <pc:docMk/>
            <pc:sldMk cId="3837480437" sldId="1095"/>
            <ac:spMk id="15" creationId="{F004D128-CEDA-4A6F-8980-B2985303962F}"/>
          </ac:spMkLst>
        </pc:spChg>
      </pc:sldChg>
      <pc:sldChg chg="del">
        <pc:chgData name="HALISDEMIR, Ufuk" userId="569d8f73-9a2b-46ed-81f6-ad4d857e353e" providerId="ADAL" clId="{881F6775-A9F9-4651-8C82-66FC0DB75F96}" dt="2022-09-30T13:13:09.006" v="1011" actId="47"/>
        <pc:sldMkLst>
          <pc:docMk/>
          <pc:sldMk cId="3929077167" sldId="1095"/>
        </pc:sldMkLst>
      </pc:sldChg>
      <pc:sldChg chg="modSp add">
        <pc:chgData name="HALISDEMIR, Ufuk" userId="569d8f73-9a2b-46ed-81f6-ad4d857e353e" providerId="ADAL" clId="{881F6775-A9F9-4651-8C82-66FC0DB75F96}" dt="2022-10-04T08:23:37.166" v="1363" actId="1076"/>
        <pc:sldMkLst>
          <pc:docMk/>
          <pc:sldMk cId="1155720427" sldId="1099"/>
        </pc:sldMkLst>
        <pc:picChg chg="mod">
          <ac:chgData name="HALISDEMIR, Ufuk" userId="569d8f73-9a2b-46ed-81f6-ad4d857e353e" providerId="ADAL" clId="{881F6775-A9F9-4651-8C82-66FC0DB75F96}" dt="2022-10-04T08:23:37.166" v="1363" actId="1076"/>
          <ac:picMkLst>
            <pc:docMk/>
            <pc:sldMk cId="1155720427" sldId="1099"/>
            <ac:picMk id="1028" creationId="{C6EEB429-CBD3-402B-ACF7-C9FF3FCEDF79}"/>
          </ac:picMkLst>
        </pc:picChg>
      </pc:sldChg>
      <pc:sldChg chg="del">
        <pc:chgData name="HALISDEMIR, Ufuk" userId="569d8f73-9a2b-46ed-81f6-ad4d857e353e" providerId="ADAL" clId="{881F6775-A9F9-4651-8C82-66FC0DB75F96}" dt="2022-09-30T13:13:09.006" v="1011" actId="47"/>
        <pc:sldMkLst>
          <pc:docMk/>
          <pc:sldMk cId="2695618963" sldId="1109"/>
        </pc:sldMkLst>
      </pc:sldChg>
      <pc:sldChg chg="del">
        <pc:chgData name="HALISDEMIR, Ufuk" userId="569d8f73-9a2b-46ed-81f6-ad4d857e353e" providerId="ADAL" clId="{881F6775-A9F9-4651-8C82-66FC0DB75F96}" dt="2022-09-30T13:13:09.006" v="1011" actId="47"/>
        <pc:sldMkLst>
          <pc:docMk/>
          <pc:sldMk cId="1454230778" sldId="1113"/>
        </pc:sldMkLst>
      </pc:sldChg>
      <pc:sldChg chg="del">
        <pc:chgData name="HALISDEMIR, Ufuk" userId="569d8f73-9a2b-46ed-81f6-ad4d857e353e" providerId="ADAL" clId="{881F6775-A9F9-4651-8C82-66FC0DB75F96}" dt="2022-09-30T13:13:09.006" v="1011" actId="47"/>
        <pc:sldMkLst>
          <pc:docMk/>
          <pc:sldMk cId="2752086206" sldId="1114"/>
        </pc:sldMkLst>
      </pc:sldChg>
      <pc:sldChg chg="del">
        <pc:chgData name="HALISDEMIR, Ufuk" userId="569d8f73-9a2b-46ed-81f6-ad4d857e353e" providerId="ADAL" clId="{881F6775-A9F9-4651-8C82-66FC0DB75F96}" dt="2022-09-30T13:13:09.006" v="1011" actId="47"/>
        <pc:sldMkLst>
          <pc:docMk/>
          <pc:sldMk cId="1397329363" sldId="1115"/>
        </pc:sldMkLst>
      </pc:sldChg>
      <pc:sldChg chg="del">
        <pc:chgData name="HALISDEMIR, Ufuk" userId="569d8f73-9a2b-46ed-81f6-ad4d857e353e" providerId="ADAL" clId="{881F6775-A9F9-4651-8C82-66FC0DB75F96}" dt="2022-09-30T13:13:09.006" v="1011" actId="47"/>
        <pc:sldMkLst>
          <pc:docMk/>
          <pc:sldMk cId="3935791420" sldId="1116"/>
        </pc:sldMkLst>
      </pc:sldChg>
      <pc:sldChg chg="del">
        <pc:chgData name="HALISDEMIR, Ufuk" userId="569d8f73-9a2b-46ed-81f6-ad4d857e353e" providerId="ADAL" clId="{881F6775-A9F9-4651-8C82-66FC0DB75F96}" dt="2022-09-30T13:13:09.006" v="1011" actId="47"/>
        <pc:sldMkLst>
          <pc:docMk/>
          <pc:sldMk cId="86189239" sldId="1117"/>
        </pc:sldMkLst>
      </pc:sldChg>
      <pc:sldChg chg="del">
        <pc:chgData name="HALISDEMIR, Ufuk" userId="569d8f73-9a2b-46ed-81f6-ad4d857e353e" providerId="ADAL" clId="{881F6775-A9F9-4651-8C82-66FC0DB75F96}" dt="2022-09-30T13:13:09.006" v="1011" actId="47"/>
        <pc:sldMkLst>
          <pc:docMk/>
          <pc:sldMk cId="3966370687" sldId="1118"/>
        </pc:sldMkLst>
      </pc:sldChg>
      <pc:sldChg chg="del">
        <pc:chgData name="HALISDEMIR, Ufuk" userId="569d8f73-9a2b-46ed-81f6-ad4d857e353e" providerId="ADAL" clId="{881F6775-A9F9-4651-8C82-66FC0DB75F96}" dt="2022-09-30T13:13:09.006" v="1011" actId="47"/>
        <pc:sldMkLst>
          <pc:docMk/>
          <pc:sldMk cId="1929799683" sldId="1119"/>
        </pc:sldMkLst>
      </pc:sldChg>
      <pc:sldChg chg="del">
        <pc:chgData name="HALISDEMIR, Ufuk" userId="569d8f73-9a2b-46ed-81f6-ad4d857e353e" providerId="ADAL" clId="{881F6775-A9F9-4651-8C82-66FC0DB75F96}" dt="2022-09-30T13:13:09.006" v="1011" actId="47"/>
        <pc:sldMkLst>
          <pc:docMk/>
          <pc:sldMk cId="2623899188" sldId="1120"/>
        </pc:sldMkLst>
      </pc:sldChg>
      <pc:sldChg chg="del">
        <pc:chgData name="HALISDEMIR, Ufuk" userId="569d8f73-9a2b-46ed-81f6-ad4d857e353e" providerId="ADAL" clId="{881F6775-A9F9-4651-8C82-66FC0DB75F96}" dt="2022-09-30T13:13:09.006" v="1011" actId="47"/>
        <pc:sldMkLst>
          <pc:docMk/>
          <pc:sldMk cId="1442317163" sldId="1121"/>
        </pc:sldMkLst>
      </pc:sldChg>
      <pc:sldChg chg="del">
        <pc:chgData name="HALISDEMIR, Ufuk" userId="569d8f73-9a2b-46ed-81f6-ad4d857e353e" providerId="ADAL" clId="{881F6775-A9F9-4651-8C82-66FC0DB75F96}" dt="2022-09-30T13:13:09.006" v="1011" actId="47"/>
        <pc:sldMkLst>
          <pc:docMk/>
          <pc:sldMk cId="3427625035" sldId="1122"/>
        </pc:sldMkLst>
      </pc:sldChg>
      <pc:sldChg chg="del">
        <pc:chgData name="HALISDEMIR, Ufuk" userId="569d8f73-9a2b-46ed-81f6-ad4d857e353e" providerId="ADAL" clId="{881F6775-A9F9-4651-8C82-66FC0DB75F96}" dt="2022-09-30T13:13:09.006" v="1011" actId="47"/>
        <pc:sldMkLst>
          <pc:docMk/>
          <pc:sldMk cId="881721054" sldId="1123"/>
        </pc:sldMkLst>
      </pc:sldChg>
      <pc:sldChg chg="del">
        <pc:chgData name="HALISDEMIR, Ufuk" userId="569d8f73-9a2b-46ed-81f6-ad4d857e353e" providerId="ADAL" clId="{881F6775-A9F9-4651-8C82-66FC0DB75F96}" dt="2022-09-30T13:13:09.006" v="1011" actId="47"/>
        <pc:sldMkLst>
          <pc:docMk/>
          <pc:sldMk cId="3287751120" sldId="1124"/>
        </pc:sldMkLst>
      </pc:sldChg>
      <pc:sldChg chg="del">
        <pc:chgData name="HALISDEMIR, Ufuk" userId="569d8f73-9a2b-46ed-81f6-ad4d857e353e" providerId="ADAL" clId="{881F6775-A9F9-4651-8C82-66FC0DB75F96}" dt="2022-09-30T13:13:09.006" v="1011" actId="47"/>
        <pc:sldMkLst>
          <pc:docMk/>
          <pc:sldMk cId="1205723154" sldId="1125"/>
        </pc:sldMkLst>
      </pc:sldChg>
      <pc:sldChg chg="del">
        <pc:chgData name="HALISDEMIR, Ufuk" userId="569d8f73-9a2b-46ed-81f6-ad4d857e353e" providerId="ADAL" clId="{881F6775-A9F9-4651-8C82-66FC0DB75F96}" dt="2022-09-30T13:13:09.006" v="1011" actId="47"/>
        <pc:sldMkLst>
          <pc:docMk/>
          <pc:sldMk cId="2958712587" sldId="1126"/>
        </pc:sldMkLst>
      </pc:sldChg>
      <pc:sldChg chg="del">
        <pc:chgData name="HALISDEMIR, Ufuk" userId="569d8f73-9a2b-46ed-81f6-ad4d857e353e" providerId="ADAL" clId="{881F6775-A9F9-4651-8C82-66FC0DB75F96}" dt="2022-09-30T13:13:09.006" v="1011" actId="47"/>
        <pc:sldMkLst>
          <pc:docMk/>
          <pc:sldMk cId="646933278" sldId="1127"/>
        </pc:sldMkLst>
      </pc:sldChg>
      <pc:sldChg chg="del">
        <pc:chgData name="HALISDEMIR, Ufuk" userId="569d8f73-9a2b-46ed-81f6-ad4d857e353e" providerId="ADAL" clId="{881F6775-A9F9-4651-8C82-66FC0DB75F96}" dt="2022-09-30T13:13:09.006" v="1011" actId="47"/>
        <pc:sldMkLst>
          <pc:docMk/>
          <pc:sldMk cId="182241413" sldId="1128"/>
        </pc:sldMkLst>
      </pc:sldChg>
      <pc:sldChg chg="del">
        <pc:chgData name="HALISDEMIR, Ufuk" userId="569d8f73-9a2b-46ed-81f6-ad4d857e353e" providerId="ADAL" clId="{881F6775-A9F9-4651-8C82-66FC0DB75F96}" dt="2022-09-30T13:13:09.006" v="1011" actId="47"/>
        <pc:sldMkLst>
          <pc:docMk/>
          <pc:sldMk cId="1397744761" sldId="1129"/>
        </pc:sldMkLst>
      </pc:sldChg>
      <pc:sldChg chg="modSp mod">
        <pc:chgData name="HALISDEMIR, Ufuk" userId="569d8f73-9a2b-46ed-81f6-ad4d857e353e" providerId="ADAL" clId="{881F6775-A9F9-4651-8C82-66FC0DB75F96}" dt="2022-09-30T13:50:51" v="1322" actId="20577"/>
        <pc:sldMkLst>
          <pc:docMk/>
          <pc:sldMk cId="4009114513" sldId="1132"/>
        </pc:sldMkLst>
        <pc:spChg chg="mod">
          <ac:chgData name="HALISDEMIR, Ufuk" userId="569d8f73-9a2b-46ed-81f6-ad4d857e353e" providerId="ADAL" clId="{881F6775-A9F9-4651-8C82-66FC0DB75F96}" dt="2022-09-30T13:50:51" v="1322" actId="20577"/>
          <ac:spMkLst>
            <pc:docMk/>
            <pc:sldMk cId="4009114513" sldId="1132"/>
            <ac:spMk id="2" creationId="{968BA5E9-027F-7D7A-D14B-6BB6F5AF84C1}"/>
          </ac:spMkLst>
        </pc:spChg>
      </pc:sldChg>
      <pc:sldChg chg="del">
        <pc:chgData name="HALISDEMIR, Ufuk" userId="569d8f73-9a2b-46ed-81f6-ad4d857e353e" providerId="ADAL" clId="{881F6775-A9F9-4651-8C82-66FC0DB75F96}" dt="2022-09-30T13:13:09.006" v="1011" actId="47"/>
        <pc:sldMkLst>
          <pc:docMk/>
          <pc:sldMk cId="148392246" sldId="1133"/>
        </pc:sldMkLst>
      </pc:sldChg>
      <pc:sldChg chg="del">
        <pc:chgData name="HALISDEMIR, Ufuk" userId="569d8f73-9a2b-46ed-81f6-ad4d857e353e" providerId="ADAL" clId="{881F6775-A9F9-4651-8C82-66FC0DB75F96}" dt="2022-09-30T13:13:09.006" v="1011" actId="47"/>
        <pc:sldMkLst>
          <pc:docMk/>
          <pc:sldMk cId="338169448" sldId="1134"/>
        </pc:sldMkLst>
      </pc:sldChg>
      <pc:sldChg chg="del">
        <pc:chgData name="HALISDEMIR, Ufuk" userId="569d8f73-9a2b-46ed-81f6-ad4d857e353e" providerId="ADAL" clId="{881F6775-A9F9-4651-8C82-66FC0DB75F96}" dt="2022-09-30T13:13:09.006" v="1011" actId="47"/>
        <pc:sldMkLst>
          <pc:docMk/>
          <pc:sldMk cId="4267540912" sldId="1135"/>
        </pc:sldMkLst>
      </pc:sldChg>
      <pc:sldChg chg="del">
        <pc:chgData name="HALISDEMIR, Ufuk" userId="569d8f73-9a2b-46ed-81f6-ad4d857e353e" providerId="ADAL" clId="{881F6775-A9F9-4651-8C82-66FC0DB75F96}" dt="2022-09-30T13:13:09.006" v="1011" actId="47"/>
        <pc:sldMkLst>
          <pc:docMk/>
          <pc:sldMk cId="2891102639" sldId="1136"/>
        </pc:sldMkLst>
      </pc:sldChg>
      <pc:sldChg chg="del">
        <pc:chgData name="HALISDEMIR, Ufuk" userId="569d8f73-9a2b-46ed-81f6-ad4d857e353e" providerId="ADAL" clId="{881F6775-A9F9-4651-8C82-66FC0DB75F96}" dt="2022-09-30T13:13:09.006" v="1011" actId="47"/>
        <pc:sldMkLst>
          <pc:docMk/>
          <pc:sldMk cId="1542847441" sldId="1137"/>
        </pc:sldMkLst>
      </pc:sldChg>
      <pc:sldChg chg="del">
        <pc:chgData name="HALISDEMIR, Ufuk" userId="569d8f73-9a2b-46ed-81f6-ad4d857e353e" providerId="ADAL" clId="{881F6775-A9F9-4651-8C82-66FC0DB75F96}" dt="2022-09-30T13:13:09.006" v="1011" actId="47"/>
        <pc:sldMkLst>
          <pc:docMk/>
          <pc:sldMk cId="3160114939" sldId="1138"/>
        </pc:sldMkLst>
      </pc:sldChg>
      <pc:sldChg chg="addSp delSp modSp new mod modClrScheme chgLayout">
        <pc:chgData name="HALISDEMIR, Ufuk" userId="569d8f73-9a2b-46ed-81f6-ad4d857e353e" providerId="ADAL" clId="{881F6775-A9F9-4651-8C82-66FC0DB75F96}" dt="2022-09-30T09:34:12.291" v="724" actId="1076"/>
        <pc:sldMkLst>
          <pc:docMk/>
          <pc:sldMk cId="2692149186" sldId="1139"/>
        </pc:sldMkLst>
        <pc:spChg chg="mod ord">
          <ac:chgData name="HALISDEMIR, Ufuk" userId="569d8f73-9a2b-46ed-81f6-ad4d857e353e" providerId="ADAL" clId="{881F6775-A9F9-4651-8C82-66FC0DB75F96}" dt="2022-09-30T09:23:06.987" v="579" actId="700"/>
          <ac:spMkLst>
            <pc:docMk/>
            <pc:sldMk cId="2692149186" sldId="1139"/>
            <ac:spMk id="2" creationId="{256F0DA0-51C4-4394-88FF-150896C67994}"/>
          </ac:spMkLst>
        </pc:spChg>
        <pc:spChg chg="add mod ord">
          <ac:chgData name="HALISDEMIR, Ufuk" userId="569d8f73-9a2b-46ed-81f6-ad4d857e353e" providerId="ADAL" clId="{881F6775-A9F9-4651-8C82-66FC0DB75F96}" dt="2022-09-30T09:23:11.474" v="591" actId="20577"/>
          <ac:spMkLst>
            <pc:docMk/>
            <pc:sldMk cId="2692149186" sldId="1139"/>
            <ac:spMk id="3" creationId="{4A04CCCB-5A93-4316-BDC5-F8EB102EEE3F}"/>
          </ac:spMkLst>
        </pc:spChg>
        <pc:spChg chg="add del mod ord">
          <ac:chgData name="HALISDEMIR, Ufuk" userId="569d8f73-9a2b-46ed-81f6-ad4d857e353e" providerId="ADAL" clId="{881F6775-A9F9-4651-8C82-66FC0DB75F96}" dt="2022-09-30T09:23:17.427" v="599" actId="478"/>
          <ac:spMkLst>
            <pc:docMk/>
            <pc:sldMk cId="2692149186" sldId="1139"/>
            <ac:spMk id="4" creationId="{ED30F015-42B7-4DC1-81AC-0C80051DF43E}"/>
          </ac:spMkLst>
        </pc:spChg>
        <pc:spChg chg="add mod ord">
          <ac:chgData name="HALISDEMIR, Ufuk" userId="569d8f73-9a2b-46ed-81f6-ad4d857e353e" providerId="ADAL" clId="{881F6775-A9F9-4651-8C82-66FC0DB75F96}" dt="2022-09-30T09:34:09.119" v="723" actId="790"/>
          <ac:spMkLst>
            <pc:docMk/>
            <pc:sldMk cId="2692149186" sldId="1139"/>
            <ac:spMk id="5" creationId="{93799071-C668-45D0-BA0C-7D3510B005A2}"/>
          </ac:spMkLst>
        </pc:spChg>
        <pc:picChg chg="add mod">
          <ac:chgData name="HALISDEMIR, Ufuk" userId="569d8f73-9a2b-46ed-81f6-ad4d857e353e" providerId="ADAL" clId="{881F6775-A9F9-4651-8C82-66FC0DB75F96}" dt="2022-09-30T09:34:12.291" v="724" actId="1076"/>
          <ac:picMkLst>
            <pc:docMk/>
            <pc:sldMk cId="2692149186" sldId="1139"/>
            <ac:picMk id="6" creationId="{35A08B66-1F83-412B-B44B-CC16E83A6439}"/>
          </ac:picMkLst>
        </pc:picChg>
      </pc:sldChg>
      <pc:sldChg chg="addSp delSp modSp add del mod">
        <pc:chgData name="HALISDEMIR, Ufuk" userId="569d8f73-9a2b-46ed-81f6-ad4d857e353e" providerId="ADAL" clId="{881F6775-A9F9-4651-8C82-66FC0DB75F96}" dt="2022-09-30T09:34:22.941" v="725" actId="47"/>
        <pc:sldMkLst>
          <pc:docMk/>
          <pc:sldMk cId="1061046747" sldId="1140"/>
        </pc:sldMkLst>
        <pc:picChg chg="del">
          <ac:chgData name="HALISDEMIR, Ufuk" userId="569d8f73-9a2b-46ed-81f6-ad4d857e353e" providerId="ADAL" clId="{881F6775-A9F9-4651-8C82-66FC0DB75F96}" dt="2022-09-30T09:32:46.635" v="683" actId="478"/>
          <ac:picMkLst>
            <pc:docMk/>
            <pc:sldMk cId="1061046747" sldId="1140"/>
            <ac:picMk id="6" creationId="{35A08B66-1F83-412B-B44B-CC16E83A6439}"/>
          </ac:picMkLst>
        </pc:picChg>
        <pc:picChg chg="add mod">
          <ac:chgData name="HALISDEMIR, Ufuk" userId="569d8f73-9a2b-46ed-81f6-ad4d857e353e" providerId="ADAL" clId="{881F6775-A9F9-4651-8C82-66FC0DB75F96}" dt="2022-09-30T09:33:05.869" v="686" actId="1076"/>
          <ac:picMkLst>
            <pc:docMk/>
            <pc:sldMk cId="1061046747" sldId="1140"/>
            <ac:picMk id="7" creationId="{365FFBC3-7777-41EF-94E1-F69A161779DC}"/>
          </ac:picMkLst>
        </pc:picChg>
      </pc:sldChg>
      <pc:sldChg chg="addSp delSp modSp new mod modClrScheme chgLayout">
        <pc:chgData name="HALISDEMIR, Ufuk" userId="569d8f73-9a2b-46ed-81f6-ad4d857e353e" providerId="ADAL" clId="{881F6775-A9F9-4651-8C82-66FC0DB75F96}" dt="2022-09-30T09:39:57.661" v="805" actId="20577"/>
        <pc:sldMkLst>
          <pc:docMk/>
          <pc:sldMk cId="2012346138" sldId="1140"/>
        </pc:sldMkLst>
        <pc:spChg chg="del mod ord">
          <ac:chgData name="HALISDEMIR, Ufuk" userId="569d8f73-9a2b-46ed-81f6-ad4d857e353e" providerId="ADAL" clId="{881F6775-A9F9-4651-8C82-66FC0DB75F96}" dt="2022-09-30T09:38:35.355" v="763" actId="700"/>
          <ac:spMkLst>
            <pc:docMk/>
            <pc:sldMk cId="2012346138" sldId="1140"/>
            <ac:spMk id="2" creationId="{949F2E94-72A3-4A92-86E0-A8133AA5900B}"/>
          </ac:spMkLst>
        </pc:spChg>
        <pc:spChg chg="del mod ord">
          <ac:chgData name="HALISDEMIR, Ufuk" userId="569d8f73-9a2b-46ed-81f6-ad4d857e353e" providerId="ADAL" clId="{881F6775-A9F9-4651-8C82-66FC0DB75F96}" dt="2022-09-30T09:38:35.355" v="763" actId="700"/>
          <ac:spMkLst>
            <pc:docMk/>
            <pc:sldMk cId="2012346138" sldId="1140"/>
            <ac:spMk id="3" creationId="{5A25100A-3751-4C1E-9FD0-0010C935CF4D}"/>
          </ac:spMkLst>
        </pc:spChg>
        <pc:spChg chg="mod ord">
          <ac:chgData name="HALISDEMIR, Ufuk" userId="569d8f73-9a2b-46ed-81f6-ad4d857e353e" providerId="ADAL" clId="{881F6775-A9F9-4651-8C82-66FC0DB75F96}" dt="2022-09-30T09:38:35.355" v="763" actId="700"/>
          <ac:spMkLst>
            <pc:docMk/>
            <pc:sldMk cId="2012346138" sldId="1140"/>
            <ac:spMk id="4" creationId="{CF5E065E-0B44-4C30-9157-4D5786059F6A}"/>
          </ac:spMkLst>
        </pc:spChg>
        <pc:spChg chg="add mod ord">
          <ac:chgData name="HALISDEMIR, Ufuk" userId="569d8f73-9a2b-46ed-81f6-ad4d857e353e" providerId="ADAL" clId="{881F6775-A9F9-4651-8C82-66FC0DB75F96}" dt="2022-09-30T09:39:44.608" v="780"/>
          <ac:spMkLst>
            <pc:docMk/>
            <pc:sldMk cId="2012346138" sldId="1140"/>
            <ac:spMk id="5" creationId="{741E4B0A-753B-4EB5-8754-66DF7EB51E53}"/>
          </ac:spMkLst>
        </pc:spChg>
        <pc:spChg chg="add del mod ord">
          <ac:chgData name="HALISDEMIR, Ufuk" userId="569d8f73-9a2b-46ed-81f6-ad4d857e353e" providerId="ADAL" clId="{881F6775-A9F9-4651-8C82-66FC0DB75F96}" dt="2022-09-30T09:38:38.013" v="764" actId="478"/>
          <ac:spMkLst>
            <pc:docMk/>
            <pc:sldMk cId="2012346138" sldId="1140"/>
            <ac:spMk id="6" creationId="{05BD5227-5B72-46CE-806D-BB409C094FF1}"/>
          </ac:spMkLst>
        </pc:spChg>
        <pc:spChg chg="add mod ord">
          <ac:chgData name="HALISDEMIR, Ufuk" userId="569d8f73-9a2b-46ed-81f6-ad4d857e353e" providerId="ADAL" clId="{881F6775-A9F9-4651-8C82-66FC0DB75F96}" dt="2022-09-30T09:39:57.661" v="805" actId="20577"/>
          <ac:spMkLst>
            <pc:docMk/>
            <pc:sldMk cId="2012346138" sldId="1140"/>
            <ac:spMk id="7" creationId="{F97498E7-7028-4E98-94DB-35979A690DB6}"/>
          </ac:spMkLst>
        </pc:spChg>
        <pc:spChg chg="add mod">
          <ac:chgData name="HALISDEMIR, Ufuk" userId="569d8f73-9a2b-46ed-81f6-ad4d857e353e" providerId="ADAL" clId="{881F6775-A9F9-4651-8C82-66FC0DB75F96}" dt="2022-09-30T09:38:47.768" v="767" actId="1076"/>
          <ac:spMkLst>
            <pc:docMk/>
            <pc:sldMk cId="2012346138" sldId="1140"/>
            <ac:spMk id="9" creationId="{52BBBBDA-655C-4C93-9B90-DBF0D97E0B2B}"/>
          </ac:spMkLst>
        </pc:spChg>
        <pc:spChg chg="add mod">
          <ac:chgData name="HALISDEMIR, Ufuk" userId="569d8f73-9a2b-46ed-81f6-ad4d857e353e" providerId="ADAL" clId="{881F6775-A9F9-4651-8C82-66FC0DB75F96}" dt="2022-09-30T09:38:42.292" v="766" actId="1076"/>
          <ac:spMkLst>
            <pc:docMk/>
            <pc:sldMk cId="2012346138" sldId="1140"/>
            <ac:spMk id="11" creationId="{02462A91-1366-4692-8BE4-C2CC30997C41}"/>
          </ac:spMkLst>
        </pc:spChg>
        <pc:picChg chg="add mod">
          <ac:chgData name="HALISDEMIR, Ufuk" userId="569d8f73-9a2b-46ed-81f6-ad4d857e353e" providerId="ADAL" clId="{881F6775-A9F9-4651-8C82-66FC0DB75F96}" dt="2022-09-30T09:38:47.768" v="767" actId="1076"/>
          <ac:picMkLst>
            <pc:docMk/>
            <pc:sldMk cId="2012346138" sldId="1140"/>
            <ac:picMk id="8" creationId="{36715EA8-D71D-4B01-BE0C-56F918085220}"/>
          </ac:picMkLst>
        </pc:picChg>
        <pc:picChg chg="add mod">
          <ac:chgData name="HALISDEMIR, Ufuk" userId="569d8f73-9a2b-46ed-81f6-ad4d857e353e" providerId="ADAL" clId="{881F6775-A9F9-4651-8C82-66FC0DB75F96}" dt="2022-09-30T09:38:47.768" v="767" actId="1076"/>
          <ac:picMkLst>
            <pc:docMk/>
            <pc:sldMk cId="2012346138" sldId="1140"/>
            <ac:picMk id="10" creationId="{9EE9A481-D9C2-49E0-9CDD-DC66E365BA3D}"/>
          </ac:picMkLst>
        </pc:picChg>
      </pc:sldChg>
      <pc:sldChg chg="addSp delSp modSp add mod">
        <pc:chgData name="HALISDEMIR, Ufuk" userId="569d8f73-9a2b-46ed-81f6-ad4d857e353e" providerId="ADAL" clId="{881F6775-A9F9-4651-8C82-66FC0DB75F96}" dt="2022-09-30T09:41:14.833" v="854"/>
        <pc:sldMkLst>
          <pc:docMk/>
          <pc:sldMk cId="757353374" sldId="1141"/>
        </pc:sldMkLst>
        <pc:spChg chg="mod">
          <ac:chgData name="HALISDEMIR, Ufuk" userId="569d8f73-9a2b-46ed-81f6-ad4d857e353e" providerId="ADAL" clId="{881F6775-A9F9-4651-8C82-66FC0DB75F96}" dt="2022-09-30T09:40:33.490" v="848" actId="20577"/>
          <ac:spMkLst>
            <pc:docMk/>
            <pc:sldMk cId="757353374" sldId="1141"/>
            <ac:spMk id="7" creationId="{F97498E7-7028-4E98-94DB-35979A690DB6}"/>
          </ac:spMkLst>
        </pc:spChg>
        <pc:spChg chg="del">
          <ac:chgData name="HALISDEMIR, Ufuk" userId="569d8f73-9a2b-46ed-81f6-ad4d857e353e" providerId="ADAL" clId="{881F6775-A9F9-4651-8C82-66FC0DB75F96}" dt="2022-09-30T09:40:49.928" v="849" actId="478"/>
          <ac:spMkLst>
            <pc:docMk/>
            <pc:sldMk cId="757353374" sldId="1141"/>
            <ac:spMk id="9" creationId="{52BBBBDA-655C-4C93-9B90-DBF0D97E0B2B}"/>
          </ac:spMkLst>
        </pc:spChg>
        <pc:spChg chg="del">
          <ac:chgData name="HALISDEMIR, Ufuk" userId="569d8f73-9a2b-46ed-81f6-ad4d857e353e" providerId="ADAL" clId="{881F6775-A9F9-4651-8C82-66FC0DB75F96}" dt="2022-09-30T09:40:49.928" v="849" actId="478"/>
          <ac:spMkLst>
            <pc:docMk/>
            <pc:sldMk cId="757353374" sldId="1141"/>
            <ac:spMk id="11" creationId="{02462A91-1366-4692-8BE4-C2CC30997C41}"/>
          </ac:spMkLst>
        </pc:spChg>
        <pc:spChg chg="add del mod">
          <ac:chgData name="HALISDEMIR, Ufuk" userId="569d8f73-9a2b-46ed-81f6-ad4d857e353e" providerId="ADAL" clId="{881F6775-A9F9-4651-8C82-66FC0DB75F96}" dt="2022-09-30T09:40:58.743" v="851"/>
          <ac:spMkLst>
            <pc:docMk/>
            <pc:sldMk cId="757353374" sldId="1141"/>
            <ac:spMk id="13" creationId="{AE3649B0-F94A-4BDC-9D45-D79E3476DC0B}"/>
          </ac:spMkLst>
        </pc:spChg>
        <pc:spChg chg="add del mod">
          <ac:chgData name="HALISDEMIR, Ufuk" userId="569d8f73-9a2b-46ed-81f6-ad4d857e353e" providerId="ADAL" clId="{881F6775-A9F9-4651-8C82-66FC0DB75F96}" dt="2022-09-30T09:41:13.967" v="853"/>
          <ac:spMkLst>
            <pc:docMk/>
            <pc:sldMk cId="757353374" sldId="1141"/>
            <ac:spMk id="15" creationId="{6A0FF101-E2B0-4F14-8F45-CFCC92ECDB55}"/>
          </ac:spMkLst>
        </pc:spChg>
        <pc:spChg chg="add del mod">
          <ac:chgData name="HALISDEMIR, Ufuk" userId="569d8f73-9a2b-46ed-81f6-ad4d857e353e" providerId="ADAL" clId="{881F6775-A9F9-4651-8C82-66FC0DB75F96}" dt="2022-09-30T09:41:13.967" v="853"/>
          <ac:spMkLst>
            <pc:docMk/>
            <pc:sldMk cId="757353374" sldId="1141"/>
            <ac:spMk id="16" creationId="{2230534D-758A-46DF-8EFC-D7A24C1CD8D9}"/>
          </ac:spMkLst>
        </pc:spChg>
        <pc:spChg chg="add mod">
          <ac:chgData name="HALISDEMIR, Ufuk" userId="569d8f73-9a2b-46ed-81f6-ad4d857e353e" providerId="ADAL" clId="{881F6775-A9F9-4651-8C82-66FC0DB75F96}" dt="2022-09-30T09:41:14.833" v="854"/>
          <ac:spMkLst>
            <pc:docMk/>
            <pc:sldMk cId="757353374" sldId="1141"/>
            <ac:spMk id="18" creationId="{66C7FD60-FF3B-483E-840B-C2276CFA701A}"/>
          </ac:spMkLst>
        </pc:spChg>
        <pc:spChg chg="add mod">
          <ac:chgData name="HALISDEMIR, Ufuk" userId="569d8f73-9a2b-46ed-81f6-ad4d857e353e" providerId="ADAL" clId="{881F6775-A9F9-4651-8C82-66FC0DB75F96}" dt="2022-09-30T09:41:14.833" v="854"/>
          <ac:spMkLst>
            <pc:docMk/>
            <pc:sldMk cId="757353374" sldId="1141"/>
            <ac:spMk id="19" creationId="{68465AFA-F330-4853-BBE9-DA6C7FA5346B}"/>
          </ac:spMkLst>
        </pc:spChg>
        <pc:spChg chg="add mod">
          <ac:chgData name="HALISDEMIR, Ufuk" userId="569d8f73-9a2b-46ed-81f6-ad4d857e353e" providerId="ADAL" clId="{881F6775-A9F9-4651-8C82-66FC0DB75F96}" dt="2022-09-30T09:41:14.833" v="854"/>
          <ac:spMkLst>
            <pc:docMk/>
            <pc:sldMk cId="757353374" sldId="1141"/>
            <ac:spMk id="20" creationId="{8D28D6B8-8989-4D47-85DD-E086DA62D6CD}"/>
          </ac:spMkLst>
        </pc:spChg>
        <pc:spChg chg="add mod">
          <ac:chgData name="HALISDEMIR, Ufuk" userId="569d8f73-9a2b-46ed-81f6-ad4d857e353e" providerId="ADAL" clId="{881F6775-A9F9-4651-8C82-66FC0DB75F96}" dt="2022-09-30T09:41:14.833" v="854"/>
          <ac:spMkLst>
            <pc:docMk/>
            <pc:sldMk cId="757353374" sldId="1141"/>
            <ac:spMk id="21" creationId="{6C6EE95F-5875-4C48-8FF5-82ABB15941A3}"/>
          </ac:spMkLst>
        </pc:spChg>
        <pc:spChg chg="add mod">
          <ac:chgData name="HALISDEMIR, Ufuk" userId="569d8f73-9a2b-46ed-81f6-ad4d857e353e" providerId="ADAL" clId="{881F6775-A9F9-4651-8C82-66FC0DB75F96}" dt="2022-09-30T09:41:14.833" v="854"/>
          <ac:spMkLst>
            <pc:docMk/>
            <pc:sldMk cId="757353374" sldId="1141"/>
            <ac:spMk id="22" creationId="{BCC79902-F9B9-44D1-A2B6-C8CAC98B0C46}"/>
          </ac:spMkLst>
        </pc:spChg>
        <pc:picChg chg="del">
          <ac:chgData name="HALISDEMIR, Ufuk" userId="569d8f73-9a2b-46ed-81f6-ad4d857e353e" providerId="ADAL" clId="{881F6775-A9F9-4651-8C82-66FC0DB75F96}" dt="2022-09-30T09:40:49.928" v="849" actId="478"/>
          <ac:picMkLst>
            <pc:docMk/>
            <pc:sldMk cId="757353374" sldId="1141"/>
            <ac:picMk id="8" creationId="{36715EA8-D71D-4B01-BE0C-56F918085220}"/>
          </ac:picMkLst>
        </pc:picChg>
        <pc:picChg chg="del">
          <ac:chgData name="HALISDEMIR, Ufuk" userId="569d8f73-9a2b-46ed-81f6-ad4d857e353e" providerId="ADAL" clId="{881F6775-A9F9-4651-8C82-66FC0DB75F96}" dt="2022-09-30T09:40:49.928" v="849" actId="478"/>
          <ac:picMkLst>
            <pc:docMk/>
            <pc:sldMk cId="757353374" sldId="1141"/>
            <ac:picMk id="10" creationId="{9EE9A481-D9C2-49E0-9CDD-DC66E365BA3D}"/>
          </ac:picMkLst>
        </pc:picChg>
        <pc:picChg chg="add del mod">
          <ac:chgData name="HALISDEMIR, Ufuk" userId="569d8f73-9a2b-46ed-81f6-ad4d857e353e" providerId="ADAL" clId="{881F6775-A9F9-4651-8C82-66FC0DB75F96}" dt="2022-09-30T09:40:58.743" v="851"/>
          <ac:picMkLst>
            <pc:docMk/>
            <pc:sldMk cId="757353374" sldId="1141"/>
            <ac:picMk id="12" creationId="{5B09434A-296A-4719-B1F1-CD088A6B0E87}"/>
          </ac:picMkLst>
        </pc:picChg>
        <pc:picChg chg="add del mod">
          <ac:chgData name="HALISDEMIR, Ufuk" userId="569d8f73-9a2b-46ed-81f6-ad4d857e353e" providerId="ADAL" clId="{881F6775-A9F9-4651-8C82-66FC0DB75F96}" dt="2022-09-30T09:41:13.967" v="853"/>
          <ac:picMkLst>
            <pc:docMk/>
            <pc:sldMk cId="757353374" sldId="1141"/>
            <ac:picMk id="14" creationId="{D4031201-7C48-469C-BE2E-C06AC1A20925}"/>
          </ac:picMkLst>
        </pc:picChg>
        <pc:picChg chg="add mod">
          <ac:chgData name="HALISDEMIR, Ufuk" userId="569d8f73-9a2b-46ed-81f6-ad4d857e353e" providerId="ADAL" clId="{881F6775-A9F9-4651-8C82-66FC0DB75F96}" dt="2022-09-30T09:41:14.833" v="854"/>
          <ac:picMkLst>
            <pc:docMk/>
            <pc:sldMk cId="757353374" sldId="1141"/>
            <ac:picMk id="17" creationId="{4894C6E1-52FC-47AA-BBED-4AFA33E7B55D}"/>
          </ac:picMkLst>
        </pc:picChg>
      </pc:sldChg>
      <pc:sldChg chg="add del">
        <pc:chgData name="HALISDEMIR, Ufuk" userId="569d8f73-9a2b-46ed-81f6-ad4d857e353e" providerId="ADAL" clId="{881F6775-A9F9-4651-8C82-66FC0DB75F96}" dt="2022-09-30T09:34:22.941" v="725" actId="47"/>
        <pc:sldMkLst>
          <pc:docMk/>
          <pc:sldMk cId="1929880490" sldId="1141"/>
        </pc:sldMkLst>
      </pc:sldChg>
      <pc:sldChg chg="add">
        <pc:chgData name="HALISDEMIR, Ufuk" userId="569d8f73-9a2b-46ed-81f6-ad4d857e353e" providerId="ADAL" clId="{881F6775-A9F9-4651-8C82-66FC0DB75F96}" dt="2022-09-30T09:41:40.818" v="855"/>
        <pc:sldMkLst>
          <pc:docMk/>
          <pc:sldMk cId="917834024" sldId="1142"/>
        </pc:sldMkLst>
      </pc:sldChg>
      <pc:sldChg chg="add">
        <pc:chgData name="HALISDEMIR, Ufuk" userId="569d8f73-9a2b-46ed-81f6-ad4d857e353e" providerId="ADAL" clId="{881F6775-A9F9-4651-8C82-66FC0DB75F96}" dt="2022-09-30T12:19:44.075" v="913"/>
        <pc:sldMkLst>
          <pc:docMk/>
          <pc:sldMk cId="2982045131" sldId="1143"/>
        </pc:sldMkLst>
      </pc:sldChg>
      <pc:sldChg chg="add">
        <pc:chgData name="HALISDEMIR, Ufuk" userId="569d8f73-9a2b-46ed-81f6-ad4d857e353e" providerId="ADAL" clId="{881F6775-A9F9-4651-8C82-66FC0DB75F96}" dt="2022-09-30T12:19:44.075" v="913"/>
        <pc:sldMkLst>
          <pc:docMk/>
          <pc:sldMk cId="648804112" sldId="1144"/>
        </pc:sldMkLst>
      </pc:sldChg>
      <pc:sldChg chg="addSp delSp modSp new mod modClrScheme chgLayout">
        <pc:chgData name="HALISDEMIR, Ufuk" userId="569d8f73-9a2b-46ed-81f6-ad4d857e353e" providerId="ADAL" clId="{881F6775-A9F9-4651-8C82-66FC0DB75F96}" dt="2022-09-30T12:20:29.138" v="928" actId="478"/>
        <pc:sldMkLst>
          <pc:docMk/>
          <pc:sldMk cId="1791800626" sldId="1145"/>
        </pc:sldMkLst>
        <pc:spChg chg="mod ord">
          <ac:chgData name="HALISDEMIR, Ufuk" userId="569d8f73-9a2b-46ed-81f6-ad4d857e353e" providerId="ADAL" clId="{881F6775-A9F9-4651-8C82-66FC0DB75F96}" dt="2022-09-30T12:20:07.721" v="915" actId="700"/>
          <ac:spMkLst>
            <pc:docMk/>
            <pc:sldMk cId="1791800626" sldId="1145"/>
            <ac:spMk id="2" creationId="{4450715A-D560-43B3-91AC-47E3066680CA}"/>
          </ac:spMkLst>
        </pc:spChg>
        <pc:spChg chg="add mod ord">
          <ac:chgData name="HALISDEMIR, Ufuk" userId="569d8f73-9a2b-46ed-81f6-ad4d857e353e" providerId="ADAL" clId="{881F6775-A9F9-4651-8C82-66FC0DB75F96}" dt="2022-09-30T12:20:15.512" v="927" actId="20577"/>
          <ac:spMkLst>
            <pc:docMk/>
            <pc:sldMk cId="1791800626" sldId="1145"/>
            <ac:spMk id="3" creationId="{A771C06E-E49F-4BD6-B4AF-3B2A7E37A6DD}"/>
          </ac:spMkLst>
        </pc:spChg>
        <pc:spChg chg="add del mod ord">
          <ac:chgData name="HALISDEMIR, Ufuk" userId="569d8f73-9a2b-46ed-81f6-ad4d857e353e" providerId="ADAL" clId="{881F6775-A9F9-4651-8C82-66FC0DB75F96}" dt="2022-09-30T12:20:29.138" v="928" actId="478"/>
          <ac:spMkLst>
            <pc:docMk/>
            <pc:sldMk cId="1791800626" sldId="1145"/>
            <ac:spMk id="4" creationId="{29513F08-5C32-4E2F-B0F5-520EE6F4BF5D}"/>
          </ac:spMkLst>
        </pc:spChg>
        <pc:spChg chg="add del mod ord">
          <ac:chgData name="HALISDEMIR, Ufuk" userId="569d8f73-9a2b-46ed-81f6-ad4d857e353e" providerId="ADAL" clId="{881F6775-A9F9-4651-8C82-66FC0DB75F96}" dt="2022-09-30T12:20:29.138" v="928" actId="478"/>
          <ac:spMkLst>
            <pc:docMk/>
            <pc:sldMk cId="1791800626" sldId="1145"/>
            <ac:spMk id="5" creationId="{6A0A73A7-E3DE-4F11-AA77-2550293A3A93}"/>
          </ac:spMkLst>
        </pc:spChg>
      </pc:sldChg>
      <pc:sldChg chg="modSp add mod">
        <pc:chgData name="HALISDEMIR, Ufuk" userId="569d8f73-9a2b-46ed-81f6-ad4d857e353e" providerId="ADAL" clId="{881F6775-A9F9-4651-8C82-66FC0DB75F96}" dt="2022-09-30T12:20:43.455" v="936" actId="20577"/>
        <pc:sldMkLst>
          <pc:docMk/>
          <pc:sldMk cId="3033752359" sldId="1146"/>
        </pc:sldMkLst>
        <pc:spChg chg="mod">
          <ac:chgData name="HALISDEMIR, Ufuk" userId="569d8f73-9a2b-46ed-81f6-ad4d857e353e" providerId="ADAL" clId="{881F6775-A9F9-4651-8C82-66FC0DB75F96}" dt="2022-09-30T12:20:43.455" v="936" actId="20577"/>
          <ac:spMkLst>
            <pc:docMk/>
            <pc:sldMk cId="3033752359" sldId="1146"/>
            <ac:spMk id="3" creationId="{A771C06E-E49F-4BD6-B4AF-3B2A7E37A6DD}"/>
          </ac:spMkLst>
        </pc:spChg>
      </pc:sldChg>
      <pc:sldChg chg="modSp add mod">
        <pc:chgData name="HALISDEMIR, Ufuk" userId="569d8f73-9a2b-46ed-81f6-ad4d857e353e" providerId="ADAL" clId="{881F6775-A9F9-4651-8C82-66FC0DB75F96}" dt="2022-09-30T12:29:16.085" v="939" actId="1076"/>
        <pc:sldMkLst>
          <pc:docMk/>
          <pc:sldMk cId="2371207852" sldId="1147"/>
        </pc:sldMkLst>
        <pc:spChg chg="mod">
          <ac:chgData name="HALISDEMIR, Ufuk" userId="569d8f73-9a2b-46ed-81f6-ad4d857e353e" providerId="ADAL" clId="{881F6775-A9F9-4651-8C82-66FC0DB75F96}" dt="2022-09-30T12:29:16.085" v="939" actId="1076"/>
          <ac:spMkLst>
            <pc:docMk/>
            <pc:sldMk cId="2371207852" sldId="1147"/>
            <ac:spMk id="2" creationId="{8F1E9A77-4DDC-40EC-8153-F170521DE326}"/>
          </ac:spMkLst>
        </pc:spChg>
        <pc:spChg chg="mod">
          <ac:chgData name="HALISDEMIR, Ufuk" userId="569d8f73-9a2b-46ed-81f6-ad4d857e353e" providerId="ADAL" clId="{881F6775-A9F9-4651-8C82-66FC0DB75F96}" dt="2022-09-30T12:29:16.085" v="939" actId="1076"/>
          <ac:spMkLst>
            <pc:docMk/>
            <pc:sldMk cId="2371207852" sldId="1147"/>
            <ac:spMk id="6" creationId="{41DDE56C-FC61-44D9-AAA3-37C3C6EA6DDE}"/>
          </ac:spMkLst>
        </pc:spChg>
        <pc:spChg chg="mod">
          <ac:chgData name="HALISDEMIR, Ufuk" userId="569d8f73-9a2b-46ed-81f6-ad4d857e353e" providerId="ADAL" clId="{881F6775-A9F9-4651-8C82-66FC0DB75F96}" dt="2022-09-30T12:29:16.085" v="939" actId="1076"/>
          <ac:spMkLst>
            <pc:docMk/>
            <pc:sldMk cId="2371207852" sldId="1147"/>
            <ac:spMk id="14" creationId="{5B4B0732-20E7-4BFB-9F3B-CD752E98DD3A}"/>
          </ac:spMkLst>
        </pc:spChg>
        <pc:spChg chg="mod">
          <ac:chgData name="HALISDEMIR, Ufuk" userId="569d8f73-9a2b-46ed-81f6-ad4d857e353e" providerId="ADAL" clId="{881F6775-A9F9-4651-8C82-66FC0DB75F96}" dt="2022-09-30T12:29:16.085" v="939" actId="1076"/>
          <ac:spMkLst>
            <pc:docMk/>
            <pc:sldMk cId="2371207852" sldId="1147"/>
            <ac:spMk id="38" creationId="{FF166ED6-B859-4C78-A6DF-D56A0706603A}"/>
          </ac:spMkLst>
        </pc:spChg>
        <pc:spChg chg="mod">
          <ac:chgData name="HALISDEMIR, Ufuk" userId="569d8f73-9a2b-46ed-81f6-ad4d857e353e" providerId="ADAL" clId="{881F6775-A9F9-4651-8C82-66FC0DB75F96}" dt="2022-09-30T12:29:16.085" v="939" actId="1076"/>
          <ac:spMkLst>
            <pc:docMk/>
            <pc:sldMk cId="2371207852" sldId="1147"/>
            <ac:spMk id="39" creationId="{C9D84C6E-32FA-4D4B-B96D-FACB409913E0}"/>
          </ac:spMkLst>
        </pc:spChg>
        <pc:spChg chg="mod">
          <ac:chgData name="HALISDEMIR, Ufuk" userId="569d8f73-9a2b-46ed-81f6-ad4d857e353e" providerId="ADAL" clId="{881F6775-A9F9-4651-8C82-66FC0DB75F96}" dt="2022-09-30T12:29:16.085" v="939" actId="1076"/>
          <ac:spMkLst>
            <pc:docMk/>
            <pc:sldMk cId="2371207852" sldId="1147"/>
            <ac:spMk id="40" creationId="{C1C1D304-487A-443D-ACBC-BA8D7F0EB565}"/>
          </ac:spMkLst>
        </pc:spChg>
        <pc:spChg chg="mod">
          <ac:chgData name="HALISDEMIR, Ufuk" userId="569d8f73-9a2b-46ed-81f6-ad4d857e353e" providerId="ADAL" clId="{881F6775-A9F9-4651-8C82-66FC0DB75F96}" dt="2022-09-30T12:29:16.085" v="939" actId="1076"/>
          <ac:spMkLst>
            <pc:docMk/>
            <pc:sldMk cId="2371207852" sldId="1147"/>
            <ac:spMk id="43" creationId="{5632B721-D9CC-4D88-A0BD-61B2789F4B4C}"/>
          </ac:spMkLst>
        </pc:spChg>
        <pc:spChg chg="mod">
          <ac:chgData name="HALISDEMIR, Ufuk" userId="569d8f73-9a2b-46ed-81f6-ad4d857e353e" providerId="ADAL" clId="{881F6775-A9F9-4651-8C82-66FC0DB75F96}" dt="2022-09-30T12:29:16.085" v="939" actId="1076"/>
          <ac:spMkLst>
            <pc:docMk/>
            <pc:sldMk cId="2371207852" sldId="1147"/>
            <ac:spMk id="45" creationId="{E8F672F4-4C7E-41B8-B689-59F5D23E8E1D}"/>
          </ac:spMkLst>
        </pc:spChg>
        <pc:spChg chg="mod">
          <ac:chgData name="HALISDEMIR, Ufuk" userId="569d8f73-9a2b-46ed-81f6-ad4d857e353e" providerId="ADAL" clId="{881F6775-A9F9-4651-8C82-66FC0DB75F96}" dt="2022-09-30T12:29:16.085" v="939" actId="1076"/>
          <ac:spMkLst>
            <pc:docMk/>
            <pc:sldMk cId="2371207852" sldId="1147"/>
            <ac:spMk id="47" creationId="{624B250A-DFCB-46BB-8A26-7AF35B5A97F4}"/>
          </ac:spMkLst>
        </pc:spChg>
        <pc:spChg chg="mod">
          <ac:chgData name="HALISDEMIR, Ufuk" userId="569d8f73-9a2b-46ed-81f6-ad4d857e353e" providerId="ADAL" clId="{881F6775-A9F9-4651-8C82-66FC0DB75F96}" dt="2022-09-30T12:29:16.085" v="939" actId="1076"/>
          <ac:spMkLst>
            <pc:docMk/>
            <pc:sldMk cId="2371207852" sldId="1147"/>
            <ac:spMk id="50" creationId="{3085F47F-4838-453E-95AF-5BCC7B6A6279}"/>
          </ac:spMkLst>
        </pc:spChg>
        <pc:spChg chg="mod">
          <ac:chgData name="HALISDEMIR, Ufuk" userId="569d8f73-9a2b-46ed-81f6-ad4d857e353e" providerId="ADAL" clId="{881F6775-A9F9-4651-8C82-66FC0DB75F96}" dt="2022-09-30T12:29:16.085" v="939" actId="1076"/>
          <ac:spMkLst>
            <pc:docMk/>
            <pc:sldMk cId="2371207852" sldId="1147"/>
            <ac:spMk id="55" creationId="{FFEE0B0B-F2CB-4EEA-9133-2FBC1EC38F05}"/>
          </ac:spMkLst>
        </pc:spChg>
        <pc:spChg chg="mod">
          <ac:chgData name="HALISDEMIR, Ufuk" userId="569d8f73-9a2b-46ed-81f6-ad4d857e353e" providerId="ADAL" clId="{881F6775-A9F9-4651-8C82-66FC0DB75F96}" dt="2022-09-30T12:29:16.085" v="939" actId="1076"/>
          <ac:spMkLst>
            <pc:docMk/>
            <pc:sldMk cId="2371207852" sldId="1147"/>
            <ac:spMk id="58" creationId="{C18EFA35-66BC-43FF-B706-8BE83234A22B}"/>
          </ac:spMkLst>
        </pc:spChg>
        <pc:cxnChg chg="mod">
          <ac:chgData name="HALISDEMIR, Ufuk" userId="569d8f73-9a2b-46ed-81f6-ad4d857e353e" providerId="ADAL" clId="{881F6775-A9F9-4651-8C82-66FC0DB75F96}" dt="2022-09-30T12:29:16.085" v="939" actId="1076"/>
          <ac:cxnSpMkLst>
            <pc:docMk/>
            <pc:sldMk cId="2371207852" sldId="1147"/>
            <ac:cxnSpMk id="8" creationId="{D860E5B3-A361-4CC6-BC74-8834C1456BC9}"/>
          </ac:cxnSpMkLst>
        </pc:cxnChg>
        <pc:cxnChg chg="mod">
          <ac:chgData name="HALISDEMIR, Ufuk" userId="569d8f73-9a2b-46ed-81f6-ad4d857e353e" providerId="ADAL" clId="{881F6775-A9F9-4651-8C82-66FC0DB75F96}" dt="2022-09-30T12:29:16.085" v="939" actId="1076"/>
          <ac:cxnSpMkLst>
            <pc:docMk/>
            <pc:sldMk cId="2371207852" sldId="1147"/>
            <ac:cxnSpMk id="10" creationId="{BDABE759-C7B6-4B19-AB85-0C628C33E800}"/>
          </ac:cxnSpMkLst>
        </pc:cxnChg>
        <pc:cxnChg chg="mod">
          <ac:chgData name="HALISDEMIR, Ufuk" userId="569d8f73-9a2b-46ed-81f6-ad4d857e353e" providerId="ADAL" clId="{881F6775-A9F9-4651-8C82-66FC0DB75F96}" dt="2022-09-30T12:29:16.085" v="939" actId="1076"/>
          <ac:cxnSpMkLst>
            <pc:docMk/>
            <pc:sldMk cId="2371207852" sldId="1147"/>
            <ac:cxnSpMk id="12" creationId="{5D3E3269-7511-4A42-A52E-709E8C4E8CD2}"/>
          </ac:cxnSpMkLst>
        </pc:cxnChg>
        <pc:cxnChg chg="mod">
          <ac:chgData name="HALISDEMIR, Ufuk" userId="569d8f73-9a2b-46ed-81f6-ad4d857e353e" providerId="ADAL" clId="{881F6775-A9F9-4651-8C82-66FC0DB75F96}" dt="2022-09-30T12:29:16.085" v="939" actId="1076"/>
          <ac:cxnSpMkLst>
            <pc:docMk/>
            <pc:sldMk cId="2371207852" sldId="1147"/>
            <ac:cxnSpMk id="16" creationId="{41D1CC33-ADF8-4C7C-B5A9-43EC978C016B}"/>
          </ac:cxnSpMkLst>
        </pc:cxnChg>
        <pc:cxnChg chg="mod">
          <ac:chgData name="HALISDEMIR, Ufuk" userId="569d8f73-9a2b-46ed-81f6-ad4d857e353e" providerId="ADAL" clId="{881F6775-A9F9-4651-8C82-66FC0DB75F96}" dt="2022-09-30T12:29:16.085" v="939" actId="1076"/>
          <ac:cxnSpMkLst>
            <pc:docMk/>
            <pc:sldMk cId="2371207852" sldId="1147"/>
            <ac:cxnSpMk id="18" creationId="{35FCF36C-D45A-43EA-8950-CA6CD4E372D1}"/>
          </ac:cxnSpMkLst>
        </pc:cxnChg>
        <pc:cxnChg chg="mod">
          <ac:chgData name="HALISDEMIR, Ufuk" userId="569d8f73-9a2b-46ed-81f6-ad4d857e353e" providerId="ADAL" clId="{881F6775-A9F9-4651-8C82-66FC0DB75F96}" dt="2022-09-30T12:29:16.085" v="939" actId="1076"/>
          <ac:cxnSpMkLst>
            <pc:docMk/>
            <pc:sldMk cId="2371207852" sldId="1147"/>
            <ac:cxnSpMk id="44" creationId="{1279856A-63A1-4201-BD6B-89B9CF748466}"/>
          </ac:cxnSpMkLst>
        </pc:cxnChg>
        <pc:cxnChg chg="mod">
          <ac:chgData name="HALISDEMIR, Ufuk" userId="569d8f73-9a2b-46ed-81f6-ad4d857e353e" providerId="ADAL" clId="{881F6775-A9F9-4651-8C82-66FC0DB75F96}" dt="2022-09-30T12:29:16.085" v="939" actId="1076"/>
          <ac:cxnSpMkLst>
            <pc:docMk/>
            <pc:sldMk cId="2371207852" sldId="1147"/>
            <ac:cxnSpMk id="46" creationId="{DE73190C-DF14-4247-815B-3CFE2D8F1172}"/>
          </ac:cxnSpMkLst>
        </pc:cxnChg>
        <pc:cxnChg chg="mod">
          <ac:chgData name="HALISDEMIR, Ufuk" userId="569d8f73-9a2b-46ed-81f6-ad4d857e353e" providerId="ADAL" clId="{881F6775-A9F9-4651-8C82-66FC0DB75F96}" dt="2022-09-30T12:29:16.085" v="939" actId="1076"/>
          <ac:cxnSpMkLst>
            <pc:docMk/>
            <pc:sldMk cId="2371207852" sldId="1147"/>
            <ac:cxnSpMk id="51" creationId="{62CB50E7-F3A1-4EF4-886A-4E6B840984EF}"/>
          </ac:cxnSpMkLst>
        </pc:cxnChg>
        <pc:cxnChg chg="mod">
          <ac:chgData name="HALISDEMIR, Ufuk" userId="569d8f73-9a2b-46ed-81f6-ad4d857e353e" providerId="ADAL" clId="{881F6775-A9F9-4651-8C82-66FC0DB75F96}" dt="2022-09-30T12:29:16.085" v="939" actId="1076"/>
          <ac:cxnSpMkLst>
            <pc:docMk/>
            <pc:sldMk cId="2371207852" sldId="1147"/>
            <ac:cxnSpMk id="53" creationId="{8956A3A9-F954-4C2C-B069-9670CA7FF14D}"/>
          </ac:cxnSpMkLst>
        </pc:cxnChg>
        <pc:cxnChg chg="mod">
          <ac:chgData name="HALISDEMIR, Ufuk" userId="569d8f73-9a2b-46ed-81f6-ad4d857e353e" providerId="ADAL" clId="{881F6775-A9F9-4651-8C82-66FC0DB75F96}" dt="2022-09-30T12:29:16.085" v="939" actId="1076"/>
          <ac:cxnSpMkLst>
            <pc:docMk/>
            <pc:sldMk cId="2371207852" sldId="1147"/>
            <ac:cxnSpMk id="54" creationId="{244251E5-4C5E-4617-AC19-0DB2C1F7A65D}"/>
          </ac:cxnSpMkLst>
        </pc:cxnChg>
        <pc:cxnChg chg="mod">
          <ac:chgData name="HALISDEMIR, Ufuk" userId="569d8f73-9a2b-46ed-81f6-ad4d857e353e" providerId="ADAL" clId="{881F6775-A9F9-4651-8C82-66FC0DB75F96}" dt="2022-09-30T12:29:16.085" v="939" actId="1076"/>
          <ac:cxnSpMkLst>
            <pc:docMk/>
            <pc:sldMk cId="2371207852" sldId="1147"/>
            <ac:cxnSpMk id="57" creationId="{A6347328-22DF-4BF5-A57B-B0ABD32AC2BD}"/>
          </ac:cxnSpMkLst>
        </pc:cxnChg>
        <pc:cxnChg chg="mod">
          <ac:chgData name="HALISDEMIR, Ufuk" userId="569d8f73-9a2b-46ed-81f6-ad4d857e353e" providerId="ADAL" clId="{881F6775-A9F9-4651-8C82-66FC0DB75F96}" dt="2022-09-30T12:29:16.085" v="939" actId="1076"/>
          <ac:cxnSpMkLst>
            <pc:docMk/>
            <pc:sldMk cId="2371207852" sldId="1147"/>
            <ac:cxnSpMk id="59" creationId="{67473467-47BD-42FF-AC73-54D42B8F208D}"/>
          </ac:cxnSpMkLst>
        </pc:cxnChg>
      </pc:sldChg>
      <pc:sldChg chg="modSp add mod ord">
        <pc:chgData name="HALISDEMIR, Ufuk" userId="569d8f73-9a2b-46ed-81f6-ad4d857e353e" providerId="ADAL" clId="{881F6775-A9F9-4651-8C82-66FC0DB75F96}" dt="2022-09-30T12:31:43.591" v="945"/>
        <pc:sldMkLst>
          <pc:docMk/>
          <pc:sldMk cId="4234577376" sldId="1148"/>
        </pc:sldMkLst>
        <pc:spChg chg="mod">
          <ac:chgData name="HALISDEMIR, Ufuk" userId="569d8f73-9a2b-46ed-81f6-ad4d857e353e" providerId="ADAL" clId="{881F6775-A9F9-4651-8C82-66FC0DB75F96}" dt="2022-09-30T12:31:36.400" v="943" actId="1076"/>
          <ac:spMkLst>
            <pc:docMk/>
            <pc:sldMk cId="4234577376" sldId="1148"/>
            <ac:spMk id="24" creationId="{EBB8104D-DE26-4A11-9163-1A8C184A287A}"/>
          </ac:spMkLst>
        </pc:spChg>
        <pc:spChg chg="mod">
          <ac:chgData name="HALISDEMIR, Ufuk" userId="569d8f73-9a2b-46ed-81f6-ad4d857e353e" providerId="ADAL" clId="{881F6775-A9F9-4651-8C82-66FC0DB75F96}" dt="2022-09-30T12:31:36.400" v="943" actId="1076"/>
          <ac:spMkLst>
            <pc:docMk/>
            <pc:sldMk cId="4234577376" sldId="1148"/>
            <ac:spMk id="33" creationId="{4FA0DE09-ACB3-4D6D-9AE4-EFAF8EF2FEEB}"/>
          </ac:spMkLst>
        </pc:spChg>
        <pc:spChg chg="mod">
          <ac:chgData name="HALISDEMIR, Ufuk" userId="569d8f73-9a2b-46ed-81f6-ad4d857e353e" providerId="ADAL" clId="{881F6775-A9F9-4651-8C82-66FC0DB75F96}" dt="2022-09-30T12:31:36.400" v="943" actId="1076"/>
          <ac:spMkLst>
            <pc:docMk/>
            <pc:sldMk cId="4234577376" sldId="1148"/>
            <ac:spMk id="54" creationId="{8C0F1045-A0A6-409F-BDFC-77FE207F0BEF}"/>
          </ac:spMkLst>
        </pc:spChg>
        <pc:spChg chg="mod">
          <ac:chgData name="HALISDEMIR, Ufuk" userId="569d8f73-9a2b-46ed-81f6-ad4d857e353e" providerId="ADAL" clId="{881F6775-A9F9-4651-8C82-66FC0DB75F96}" dt="2022-09-30T12:31:36.400" v="943" actId="1076"/>
          <ac:spMkLst>
            <pc:docMk/>
            <pc:sldMk cId="4234577376" sldId="1148"/>
            <ac:spMk id="62" creationId="{0BEBE1FE-E684-457A-A561-CEEB87D27838}"/>
          </ac:spMkLst>
        </pc:spChg>
        <pc:spChg chg="mod">
          <ac:chgData name="HALISDEMIR, Ufuk" userId="569d8f73-9a2b-46ed-81f6-ad4d857e353e" providerId="ADAL" clId="{881F6775-A9F9-4651-8C82-66FC0DB75F96}" dt="2022-09-30T12:31:36.400" v="943" actId="1076"/>
          <ac:spMkLst>
            <pc:docMk/>
            <pc:sldMk cId="4234577376" sldId="1148"/>
            <ac:spMk id="70" creationId="{900C5C38-96F5-4FE6-953A-764FB74DCD9A}"/>
          </ac:spMkLst>
        </pc:spChg>
        <pc:spChg chg="mod">
          <ac:chgData name="HALISDEMIR, Ufuk" userId="569d8f73-9a2b-46ed-81f6-ad4d857e353e" providerId="ADAL" clId="{881F6775-A9F9-4651-8C82-66FC0DB75F96}" dt="2022-09-30T12:31:36.400" v="943" actId="1076"/>
          <ac:spMkLst>
            <pc:docMk/>
            <pc:sldMk cId="4234577376" sldId="1148"/>
            <ac:spMk id="73" creationId="{5C796378-CE36-41FC-BC8A-03D4AF3E33E3}"/>
          </ac:spMkLst>
        </pc:spChg>
        <pc:spChg chg="mod">
          <ac:chgData name="HALISDEMIR, Ufuk" userId="569d8f73-9a2b-46ed-81f6-ad4d857e353e" providerId="ADAL" clId="{881F6775-A9F9-4651-8C82-66FC0DB75F96}" dt="2022-09-30T12:31:36.400" v="943" actId="1076"/>
          <ac:spMkLst>
            <pc:docMk/>
            <pc:sldMk cId="4234577376" sldId="1148"/>
            <ac:spMk id="81" creationId="{8FF4A0CB-927C-4C52-AB88-9D8FE2BD583C}"/>
          </ac:spMkLst>
        </pc:spChg>
        <pc:spChg chg="mod">
          <ac:chgData name="HALISDEMIR, Ufuk" userId="569d8f73-9a2b-46ed-81f6-ad4d857e353e" providerId="ADAL" clId="{881F6775-A9F9-4651-8C82-66FC0DB75F96}" dt="2022-09-30T12:31:36.400" v="943" actId="1076"/>
          <ac:spMkLst>
            <pc:docMk/>
            <pc:sldMk cId="4234577376" sldId="1148"/>
            <ac:spMk id="82" creationId="{2A27CA1E-3010-44DA-95F8-618415DF9D4A}"/>
          </ac:spMkLst>
        </pc:spChg>
        <pc:spChg chg="mod">
          <ac:chgData name="HALISDEMIR, Ufuk" userId="569d8f73-9a2b-46ed-81f6-ad4d857e353e" providerId="ADAL" clId="{881F6775-A9F9-4651-8C82-66FC0DB75F96}" dt="2022-09-30T12:31:36.400" v="943" actId="1076"/>
          <ac:spMkLst>
            <pc:docMk/>
            <pc:sldMk cId="4234577376" sldId="1148"/>
            <ac:spMk id="83" creationId="{9C1DBB98-D9DC-48A1-A3C0-F9FA2C078263}"/>
          </ac:spMkLst>
        </pc:spChg>
        <pc:spChg chg="mod">
          <ac:chgData name="HALISDEMIR, Ufuk" userId="569d8f73-9a2b-46ed-81f6-ad4d857e353e" providerId="ADAL" clId="{881F6775-A9F9-4651-8C82-66FC0DB75F96}" dt="2022-09-30T12:31:36.400" v="943" actId="1076"/>
          <ac:spMkLst>
            <pc:docMk/>
            <pc:sldMk cId="4234577376" sldId="1148"/>
            <ac:spMk id="84" creationId="{5623F6B7-147D-4058-8BE9-2EA7FBAE0C64}"/>
          </ac:spMkLst>
        </pc:spChg>
        <pc:spChg chg="mod">
          <ac:chgData name="HALISDEMIR, Ufuk" userId="569d8f73-9a2b-46ed-81f6-ad4d857e353e" providerId="ADAL" clId="{881F6775-A9F9-4651-8C82-66FC0DB75F96}" dt="2022-09-30T12:31:36.400" v="943" actId="1076"/>
          <ac:spMkLst>
            <pc:docMk/>
            <pc:sldMk cId="4234577376" sldId="1148"/>
            <ac:spMk id="85" creationId="{BF9F1F2E-BDD5-4E89-B215-060BE048FBCF}"/>
          </ac:spMkLst>
        </pc:spChg>
        <pc:spChg chg="mod">
          <ac:chgData name="HALISDEMIR, Ufuk" userId="569d8f73-9a2b-46ed-81f6-ad4d857e353e" providerId="ADAL" clId="{881F6775-A9F9-4651-8C82-66FC0DB75F96}" dt="2022-09-30T12:31:36.400" v="943" actId="1076"/>
          <ac:spMkLst>
            <pc:docMk/>
            <pc:sldMk cId="4234577376" sldId="1148"/>
            <ac:spMk id="86" creationId="{998DD6B0-7CE9-4914-B6DA-9C0A2F537942}"/>
          </ac:spMkLst>
        </pc:spChg>
        <pc:spChg chg="mod">
          <ac:chgData name="HALISDEMIR, Ufuk" userId="569d8f73-9a2b-46ed-81f6-ad4d857e353e" providerId="ADAL" clId="{881F6775-A9F9-4651-8C82-66FC0DB75F96}" dt="2022-09-30T12:31:36.400" v="943" actId="1076"/>
          <ac:spMkLst>
            <pc:docMk/>
            <pc:sldMk cId="4234577376" sldId="1148"/>
            <ac:spMk id="87" creationId="{C3735416-5760-4EC7-B391-315A90E53280}"/>
          </ac:spMkLst>
        </pc:spChg>
        <pc:grpChg chg="mod">
          <ac:chgData name="HALISDEMIR, Ufuk" userId="569d8f73-9a2b-46ed-81f6-ad4d857e353e" providerId="ADAL" clId="{881F6775-A9F9-4651-8C82-66FC0DB75F96}" dt="2022-09-30T12:31:36.400" v="943" actId="1076"/>
          <ac:grpSpMkLst>
            <pc:docMk/>
            <pc:sldMk cId="4234577376" sldId="1148"/>
            <ac:grpSpMk id="25" creationId="{D62E94F5-900D-4CD1-9A08-DEAB3C278F70}"/>
          </ac:grpSpMkLst>
        </pc:grpChg>
        <pc:grpChg chg="mod">
          <ac:chgData name="HALISDEMIR, Ufuk" userId="569d8f73-9a2b-46ed-81f6-ad4d857e353e" providerId="ADAL" clId="{881F6775-A9F9-4651-8C82-66FC0DB75F96}" dt="2022-09-30T12:31:36.400" v="943" actId="1076"/>
          <ac:grpSpMkLst>
            <pc:docMk/>
            <pc:sldMk cId="4234577376" sldId="1148"/>
            <ac:grpSpMk id="63" creationId="{EA1B98DE-587B-4E01-B499-AD3812AD4220}"/>
          </ac:grpSpMkLst>
        </pc:grpChg>
        <pc:cxnChg chg="mod">
          <ac:chgData name="HALISDEMIR, Ufuk" userId="569d8f73-9a2b-46ed-81f6-ad4d857e353e" providerId="ADAL" clId="{881F6775-A9F9-4651-8C82-66FC0DB75F96}" dt="2022-09-30T12:31:36.400" v="943" actId="1076"/>
          <ac:cxnSpMkLst>
            <pc:docMk/>
            <pc:sldMk cId="4234577376" sldId="1148"/>
            <ac:cxnSpMk id="34" creationId="{0E893764-D554-4402-8D9F-78BE37827E5C}"/>
          </ac:cxnSpMkLst>
        </pc:cxnChg>
        <pc:cxnChg chg="mod">
          <ac:chgData name="HALISDEMIR, Ufuk" userId="569d8f73-9a2b-46ed-81f6-ad4d857e353e" providerId="ADAL" clId="{881F6775-A9F9-4651-8C82-66FC0DB75F96}" dt="2022-09-30T12:31:36.400" v="943" actId="1076"/>
          <ac:cxnSpMkLst>
            <pc:docMk/>
            <pc:sldMk cId="4234577376" sldId="1148"/>
            <ac:cxnSpMk id="52" creationId="{A993AB5F-5611-4291-8D5F-53A8CC1DB041}"/>
          </ac:cxnSpMkLst>
        </pc:cxnChg>
        <pc:cxnChg chg="mod">
          <ac:chgData name="HALISDEMIR, Ufuk" userId="569d8f73-9a2b-46ed-81f6-ad4d857e353e" providerId="ADAL" clId="{881F6775-A9F9-4651-8C82-66FC0DB75F96}" dt="2022-09-30T12:31:36.400" v="943" actId="1076"/>
          <ac:cxnSpMkLst>
            <pc:docMk/>
            <pc:sldMk cId="4234577376" sldId="1148"/>
            <ac:cxnSpMk id="53" creationId="{64BBFC16-4969-497E-9F68-A60A8863F60B}"/>
          </ac:cxnSpMkLst>
        </pc:cxnChg>
        <pc:cxnChg chg="mod">
          <ac:chgData name="HALISDEMIR, Ufuk" userId="569d8f73-9a2b-46ed-81f6-ad4d857e353e" providerId="ADAL" clId="{881F6775-A9F9-4651-8C82-66FC0DB75F96}" dt="2022-09-30T12:31:36.400" v="943" actId="1076"/>
          <ac:cxnSpMkLst>
            <pc:docMk/>
            <pc:sldMk cId="4234577376" sldId="1148"/>
            <ac:cxnSpMk id="55" creationId="{A5DF70B9-3ACD-4DBC-A9EA-64B8B3A2519B}"/>
          </ac:cxnSpMkLst>
        </pc:cxnChg>
        <pc:cxnChg chg="mod">
          <ac:chgData name="HALISDEMIR, Ufuk" userId="569d8f73-9a2b-46ed-81f6-ad4d857e353e" providerId="ADAL" clId="{881F6775-A9F9-4651-8C82-66FC0DB75F96}" dt="2022-09-30T12:31:36.400" v="943" actId="1076"/>
          <ac:cxnSpMkLst>
            <pc:docMk/>
            <pc:sldMk cId="4234577376" sldId="1148"/>
            <ac:cxnSpMk id="56" creationId="{D5978D06-60B9-4C9E-84D5-9C6FF705CB27}"/>
          </ac:cxnSpMkLst>
        </pc:cxnChg>
        <pc:cxnChg chg="mod">
          <ac:chgData name="HALISDEMIR, Ufuk" userId="569d8f73-9a2b-46ed-81f6-ad4d857e353e" providerId="ADAL" clId="{881F6775-A9F9-4651-8C82-66FC0DB75F96}" dt="2022-09-30T12:31:36.400" v="943" actId="1076"/>
          <ac:cxnSpMkLst>
            <pc:docMk/>
            <pc:sldMk cId="4234577376" sldId="1148"/>
            <ac:cxnSpMk id="57" creationId="{4EE63506-9BD1-4E2D-ADC4-F371569BD3ED}"/>
          </ac:cxnSpMkLst>
        </pc:cxnChg>
        <pc:cxnChg chg="mod">
          <ac:chgData name="HALISDEMIR, Ufuk" userId="569d8f73-9a2b-46ed-81f6-ad4d857e353e" providerId="ADAL" clId="{881F6775-A9F9-4651-8C82-66FC0DB75F96}" dt="2022-09-30T12:31:36.400" v="943" actId="1076"/>
          <ac:cxnSpMkLst>
            <pc:docMk/>
            <pc:sldMk cId="4234577376" sldId="1148"/>
            <ac:cxnSpMk id="58" creationId="{C192BF5F-BEFB-4384-AC79-44740A1DD17F}"/>
          </ac:cxnSpMkLst>
        </pc:cxnChg>
        <pc:cxnChg chg="mod">
          <ac:chgData name="HALISDEMIR, Ufuk" userId="569d8f73-9a2b-46ed-81f6-ad4d857e353e" providerId="ADAL" clId="{881F6775-A9F9-4651-8C82-66FC0DB75F96}" dt="2022-09-30T12:31:36.400" v="943" actId="1076"/>
          <ac:cxnSpMkLst>
            <pc:docMk/>
            <pc:sldMk cId="4234577376" sldId="1148"/>
            <ac:cxnSpMk id="59" creationId="{62BBCF1C-B982-4127-A644-0036B49BC4DF}"/>
          </ac:cxnSpMkLst>
        </pc:cxnChg>
        <pc:cxnChg chg="mod">
          <ac:chgData name="HALISDEMIR, Ufuk" userId="569d8f73-9a2b-46ed-81f6-ad4d857e353e" providerId="ADAL" clId="{881F6775-A9F9-4651-8C82-66FC0DB75F96}" dt="2022-09-30T12:31:36.400" v="943" actId="1076"/>
          <ac:cxnSpMkLst>
            <pc:docMk/>
            <pc:sldMk cId="4234577376" sldId="1148"/>
            <ac:cxnSpMk id="60" creationId="{3FA93626-89FF-44E5-8777-CAF1242B068A}"/>
          </ac:cxnSpMkLst>
        </pc:cxnChg>
        <pc:cxnChg chg="mod">
          <ac:chgData name="HALISDEMIR, Ufuk" userId="569d8f73-9a2b-46ed-81f6-ad4d857e353e" providerId="ADAL" clId="{881F6775-A9F9-4651-8C82-66FC0DB75F96}" dt="2022-09-30T12:31:36.400" v="943" actId="1076"/>
          <ac:cxnSpMkLst>
            <pc:docMk/>
            <pc:sldMk cId="4234577376" sldId="1148"/>
            <ac:cxnSpMk id="61" creationId="{DC2E0B0F-62C5-4072-9ABF-37BE78CE69CD}"/>
          </ac:cxnSpMkLst>
        </pc:cxnChg>
        <pc:cxnChg chg="mod">
          <ac:chgData name="HALISDEMIR, Ufuk" userId="569d8f73-9a2b-46ed-81f6-ad4d857e353e" providerId="ADAL" clId="{881F6775-A9F9-4651-8C82-66FC0DB75F96}" dt="2022-09-30T12:31:36.400" v="943" actId="1076"/>
          <ac:cxnSpMkLst>
            <pc:docMk/>
            <pc:sldMk cId="4234577376" sldId="1148"/>
            <ac:cxnSpMk id="71" creationId="{192F94F1-3189-4373-9CFC-67BC86261DD7}"/>
          </ac:cxnSpMkLst>
        </pc:cxnChg>
        <pc:cxnChg chg="mod">
          <ac:chgData name="HALISDEMIR, Ufuk" userId="569d8f73-9a2b-46ed-81f6-ad4d857e353e" providerId="ADAL" clId="{881F6775-A9F9-4651-8C82-66FC0DB75F96}" dt="2022-09-30T12:31:36.400" v="943" actId="1076"/>
          <ac:cxnSpMkLst>
            <pc:docMk/>
            <pc:sldMk cId="4234577376" sldId="1148"/>
            <ac:cxnSpMk id="72" creationId="{03A3B626-BAF3-44E0-8874-01D11F1FEE95}"/>
          </ac:cxnSpMkLst>
        </pc:cxnChg>
        <pc:cxnChg chg="mod">
          <ac:chgData name="HALISDEMIR, Ufuk" userId="569d8f73-9a2b-46ed-81f6-ad4d857e353e" providerId="ADAL" clId="{881F6775-A9F9-4651-8C82-66FC0DB75F96}" dt="2022-09-30T12:31:36.400" v="943" actId="1076"/>
          <ac:cxnSpMkLst>
            <pc:docMk/>
            <pc:sldMk cId="4234577376" sldId="1148"/>
            <ac:cxnSpMk id="74" creationId="{E9E7D31A-F902-4BDC-9086-CBF0C5D06642}"/>
          </ac:cxnSpMkLst>
        </pc:cxnChg>
        <pc:cxnChg chg="mod">
          <ac:chgData name="HALISDEMIR, Ufuk" userId="569d8f73-9a2b-46ed-81f6-ad4d857e353e" providerId="ADAL" clId="{881F6775-A9F9-4651-8C82-66FC0DB75F96}" dt="2022-09-30T12:31:36.400" v="943" actId="1076"/>
          <ac:cxnSpMkLst>
            <pc:docMk/>
            <pc:sldMk cId="4234577376" sldId="1148"/>
            <ac:cxnSpMk id="75" creationId="{E18C83D7-B73B-4573-A5F1-195DCAD8D29E}"/>
          </ac:cxnSpMkLst>
        </pc:cxnChg>
        <pc:cxnChg chg="mod">
          <ac:chgData name="HALISDEMIR, Ufuk" userId="569d8f73-9a2b-46ed-81f6-ad4d857e353e" providerId="ADAL" clId="{881F6775-A9F9-4651-8C82-66FC0DB75F96}" dt="2022-09-30T12:31:36.400" v="943" actId="1076"/>
          <ac:cxnSpMkLst>
            <pc:docMk/>
            <pc:sldMk cId="4234577376" sldId="1148"/>
            <ac:cxnSpMk id="76" creationId="{CB077455-23E6-4A83-9A0E-8940148909A1}"/>
          </ac:cxnSpMkLst>
        </pc:cxnChg>
        <pc:cxnChg chg="mod">
          <ac:chgData name="HALISDEMIR, Ufuk" userId="569d8f73-9a2b-46ed-81f6-ad4d857e353e" providerId="ADAL" clId="{881F6775-A9F9-4651-8C82-66FC0DB75F96}" dt="2022-09-30T12:31:36.400" v="943" actId="1076"/>
          <ac:cxnSpMkLst>
            <pc:docMk/>
            <pc:sldMk cId="4234577376" sldId="1148"/>
            <ac:cxnSpMk id="77" creationId="{499FC1FE-E2FB-4987-9240-DB5013C5F451}"/>
          </ac:cxnSpMkLst>
        </pc:cxnChg>
        <pc:cxnChg chg="mod">
          <ac:chgData name="HALISDEMIR, Ufuk" userId="569d8f73-9a2b-46ed-81f6-ad4d857e353e" providerId="ADAL" clId="{881F6775-A9F9-4651-8C82-66FC0DB75F96}" dt="2022-09-30T12:31:36.400" v="943" actId="1076"/>
          <ac:cxnSpMkLst>
            <pc:docMk/>
            <pc:sldMk cId="4234577376" sldId="1148"/>
            <ac:cxnSpMk id="78" creationId="{0DD4D018-CEA6-4229-A854-EB007332401D}"/>
          </ac:cxnSpMkLst>
        </pc:cxnChg>
        <pc:cxnChg chg="mod">
          <ac:chgData name="HALISDEMIR, Ufuk" userId="569d8f73-9a2b-46ed-81f6-ad4d857e353e" providerId="ADAL" clId="{881F6775-A9F9-4651-8C82-66FC0DB75F96}" dt="2022-09-30T12:31:36.400" v="943" actId="1076"/>
          <ac:cxnSpMkLst>
            <pc:docMk/>
            <pc:sldMk cId="4234577376" sldId="1148"/>
            <ac:cxnSpMk id="79" creationId="{7476F8FD-5245-43A2-BA8C-1223261CEDFB}"/>
          </ac:cxnSpMkLst>
        </pc:cxnChg>
        <pc:cxnChg chg="mod">
          <ac:chgData name="HALISDEMIR, Ufuk" userId="569d8f73-9a2b-46ed-81f6-ad4d857e353e" providerId="ADAL" clId="{881F6775-A9F9-4651-8C82-66FC0DB75F96}" dt="2022-09-30T12:31:36.400" v="943" actId="1076"/>
          <ac:cxnSpMkLst>
            <pc:docMk/>
            <pc:sldMk cId="4234577376" sldId="1148"/>
            <ac:cxnSpMk id="80" creationId="{6B1B7A7E-1388-4F51-A529-1084DD68048D}"/>
          </ac:cxnSpMkLst>
        </pc:cxnChg>
      </pc:sldChg>
      <pc:sldChg chg="addSp delSp modSp add mod">
        <pc:chgData name="HALISDEMIR, Ufuk" userId="569d8f73-9a2b-46ed-81f6-ad4d857e353e" providerId="ADAL" clId="{881F6775-A9F9-4651-8C82-66FC0DB75F96}" dt="2022-09-30T13:23:50.694" v="1020" actId="20577"/>
        <pc:sldMkLst>
          <pc:docMk/>
          <pc:sldMk cId="1312668698" sldId="1149"/>
        </pc:sldMkLst>
        <pc:spChg chg="mod">
          <ac:chgData name="HALISDEMIR, Ufuk" userId="569d8f73-9a2b-46ed-81f6-ad4d857e353e" providerId="ADAL" clId="{881F6775-A9F9-4651-8C82-66FC0DB75F96}" dt="2022-09-30T13:23:50.694" v="1020" actId="20577"/>
          <ac:spMkLst>
            <pc:docMk/>
            <pc:sldMk cId="1312668698" sldId="1149"/>
            <ac:spMk id="6" creationId="{E482BA12-3A35-4618-96A3-96CA78B2BF34}"/>
          </ac:spMkLst>
        </pc:spChg>
        <pc:picChg chg="add mod">
          <ac:chgData name="HALISDEMIR, Ufuk" userId="569d8f73-9a2b-46ed-81f6-ad4d857e353e" providerId="ADAL" clId="{881F6775-A9F9-4651-8C82-66FC0DB75F96}" dt="2022-09-30T13:12:40.362" v="1010" actId="1076"/>
          <ac:picMkLst>
            <pc:docMk/>
            <pc:sldMk cId="1312668698" sldId="1149"/>
            <ac:picMk id="7" creationId="{25CD6FA8-4250-4B93-9042-3D0B033D7C7D}"/>
          </ac:picMkLst>
        </pc:picChg>
        <pc:picChg chg="add mod">
          <ac:chgData name="HALISDEMIR, Ufuk" userId="569d8f73-9a2b-46ed-81f6-ad4d857e353e" providerId="ADAL" clId="{881F6775-A9F9-4651-8C82-66FC0DB75F96}" dt="2022-09-30T13:12:40.362" v="1010" actId="1076"/>
          <ac:picMkLst>
            <pc:docMk/>
            <pc:sldMk cId="1312668698" sldId="1149"/>
            <ac:picMk id="8" creationId="{E7145F80-C42E-4FC1-8E0C-65E22E25FC1C}"/>
          </ac:picMkLst>
        </pc:picChg>
        <pc:picChg chg="del">
          <ac:chgData name="HALISDEMIR, Ufuk" userId="569d8f73-9a2b-46ed-81f6-ad4d857e353e" providerId="ADAL" clId="{881F6775-A9F9-4651-8C82-66FC0DB75F96}" dt="2022-09-30T13:12:06.681" v="966" actId="478"/>
          <ac:picMkLst>
            <pc:docMk/>
            <pc:sldMk cId="1312668698" sldId="1149"/>
            <ac:picMk id="51" creationId="{333F044D-6D9B-4226-93DB-3E1B19AF9B49}"/>
          </ac:picMkLst>
        </pc:picChg>
        <pc:picChg chg="del">
          <ac:chgData name="HALISDEMIR, Ufuk" userId="569d8f73-9a2b-46ed-81f6-ad4d857e353e" providerId="ADAL" clId="{881F6775-A9F9-4651-8C82-66FC0DB75F96}" dt="2022-09-30T13:12:06.681" v="966" actId="478"/>
          <ac:picMkLst>
            <pc:docMk/>
            <pc:sldMk cId="1312668698" sldId="1149"/>
            <ac:picMk id="88" creationId="{03D8A6FE-CF07-4151-9758-F808324307C2}"/>
          </ac:picMkLst>
        </pc:picChg>
      </pc:sldChg>
      <pc:sldChg chg="modSp add mod">
        <pc:chgData name="HALISDEMIR, Ufuk" userId="569d8f73-9a2b-46ed-81f6-ad4d857e353e" providerId="ADAL" clId="{881F6775-A9F9-4651-8C82-66FC0DB75F96}" dt="2022-09-30T13:24:06.611" v="1028" actId="20577"/>
        <pc:sldMkLst>
          <pc:docMk/>
          <pc:sldMk cId="3818444039" sldId="1150"/>
        </pc:sldMkLst>
        <pc:spChg chg="mod">
          <ac:chgData name="HALISDEMIR, Ufuk" userId="569d8f73-9a2b-46ed-81f6-ad4d857e353e" providerId="ADAL" clId="{881F6775-A9F9-4651-8C82-66FC0DB75F96}" dt="2022-09-30T13:24:06.611" v="1028" actId="20577"/>
          <ac:spMkLst>
            <pc:docMk/>
            <pc:sldMk cId="3818444039" sldId="1150"/>
            <ac:spMk id="3" creationId="{A771C06E-E49F-4BD6-B4AF-3B2A7E37A6DD}"/>
          </ac:spMkLst>
        </pc:spChg>
      </pc:sldChg>
      <pc:sldChg chg="addSp delSp modSp add mod">
        <pc:chgData name="HALISDEMIR, Ufuk" userId="569d8f73-9a2b-46ed-81f6-ad4d857e353e" providerId="ADAL" clId="{881F6775-A9F9-4651-8C82-66FC0DB75F96}" dt="2022-09-30T13:39:10.958" v="1169" actId="14100"/>
        <pc:sldMkLst>
          <pc:docMk/>
          <pc:sldMk cId="1399401371" sldId="1151"/>
        </pc:sldMkLst>
        <pc:spChg chg="mod">
          <ac:chgData name="HALISDEMIR, Ufuk" userId="569d8f73-9a2b-46ed-81f6-ad4d857e353e" providerId="ADAL" clId="{881F6775-A9F9-4651-8C82-66FC0DB75F96}" dt="2022-09-30T13:38:43.810" v="1133" actId="6549"/>
          <ac:spMkLst>
            <pc:docMk/>
            <pc:sldMk cId="1399401371" sldId="1151"/>
            <ac:spMk id="5" creationId="{89C7E882-7F3A-4BD4-8F2D-80CCF35CC3DC}"/>
          </ac:spMkLst>
        </pc:spChg>
        <pc:spChg chg="mod">
          <ac:chgData name="HALISDEMIR, Ufuk" userId="569d8f73-9a2b-46ed-81f6-ad4d857e353e" providerId="ADAL" clId="{881F6775-A9F9-4651-8C82-66FC0DB75F96}" dt="2022-09-30T13:39:00.848" v="1155" actId="20577"/>
          <ac:spMkLst>
            <pc:docMk/>
            <pc:sldMk cId="1399401371" sldId="1151"/>
            <ac:spMk id="6" creationId="{E482BA12-3A35-4618-96A3-96CA78B2BF34}"/>
          </ac:spMkLst>
        </pc:spChg>
        <pc:spChg chg="add del">
          <ac:chgData name="HALISDEMIR, Ufuk" userId="569d8f73-9a2b-46ed-81f6-ad4d857e353e" providerId="ADAL" clId="{881F6775-A9F9-4651-8C82-66FC0DB75F96}" dt="2022-09-30T13:31:17.252" v="1091" actId="22"/>
          <ac:spMkLst>
            <pc:docMk/>
            <pc:sldMk cId="1399401371" sldId="1151"/>
            <ac:spMk id="15" creationId="{0F3F7C3C-F1A3-42A1-BD0E-7E0549F2F61E}"/>
          </ac:spMkLst>
        </pc:spChg>
        <pc:spChg chg="add del mod">
          <ac:chgData name="HALISDEMIR, Ufuk" userId="569d8f73-9a2b-46ed-81f6-ad4d857e353e" providerId="ADAL" clId="{881F6775-A9F9-4651-8C82-66FC0DB75F96}" dt="2022-09-30T13:31:56.952" v="1107" actId="478"/>
          <ac:spMkLst>
            <pc:docMk/>
            <pc:sldMk cId="1399401371" sldId="1151"/>
            <ac:spMk id="16" creationId="{4EE647CE-160A-4C34-8973-DBAB475BAC90}"/>
          </ac:spMkLst>
        </pc:spChg>
        <pc:spChg chg="add mod">
          <ac:chgData name="HALISDEMIR, Ufuk" userId="569d8f73-9a2b-46ed-81f6-ad4d857e353e" providerId="ADAL" clId="{881F6775-A9F9-4651-8C82-66FC0DB75F96}" dt="2022-09-30T13:39:10.958" v="1169" actId="14100"/>
          <ac:spMkLst>
            <pc:docMk/>
            <pc:sldMk cId="1399401371" sldId="1151"/>
            <ac:spMk id="17" creationId="{B7E70867-77B8-4840-BBE8-DA8F51820FF8}"/>
          </ac:spMkLst>
        </pc:spChg>
        <pc:spChg chg="add mod">
          <ac:chgData name="HALISDEMIR, Ufuk" userId="569d8f73-9a2b-46ed-81f6-ad4d857e353e" providerId="ADAL" clId="{881F6775-A9F9-4651-8C82-66FC0DB75F96}" dt="2022-09-30T13:33:02.025" v="1113"/>
          <ac:spMkLst>
            <pc:docMk/>
            <pc:sldMk cId="1399401371" sldId="1151"/>
            <ac:spMk id="18" creationId="{95F266FB-59B9-445C-BD37-92C628ABBD29}"/>
          </ac:spMkLst>
        </pc:spChg>
        <pc:spChg chg="add mod">
          <ac:chgData name="HALISDEMIR, Ufuk" userId="569d8f73-9a2b-46ed-81f6-ad4d857e353e" providerId="ADAL" clId="{881F6775-A9F9-4651-8C82-66FC0DB75F96}" dt="2022-09-30T13:33:09.878" v="1114"/>
          <ac:spMkLst>
            <pc:docMk/>
            <pc:sldMk cId="1399401371" sldId="1151"/>
            <ac:spMk id="19" creationId="{5E42AA4C-A8A6-44BD-8B95-DB8098EE9477}"/>
          </ac:spMkLst>
        </pc:spChg>
        <pc:picChg chg="add mod">
          <ac:chgData name="HALISDEMIR, Ufuk" userId="569d8f73-9a2b-46ed-81f6-ad4d857e353e" providerId="ADAL" clId="{881F6775-A9F9-4651-8C82-66FC0DB75F96}" dt="2022-09-30T13:30:34.756" v="1089" actId="1076"/>
          <ac:picMkLst>
            <pc:docMk/>
            <pc:sldMk cId="1399401371" sldId="1151"/>
            <ac:picMk id="2" creationId="{29142D38-DDBA-4525-B4D2-4BC5F72606D1}"/>
          </ac:picMkLst>
        </pc:picChg>
        <pc:picChg chg="del">
          <ac:chgData name="HALISDEMIR, Ufuk" userId="569d8f73-9a2b-46ed-81f6-ad4d857e353e" providerId="ADAL" clId="{881F6775-A9F9-4651-8C82-66FC0DB75F96}" dt="2022-09-30T13:30:16.232" v="1078" actId="478"/>
          <ac:picMkLst>
            <pc:docMk/>
            <pc:sldMk cId="1399401371" sldId="1151"/>
            <ac:picMk id="7" creationId="{25CD6FA8-4250-4B93-9042-3D0B033D7C7D}"/>
          </ac:picMkLst>
        </pc:picChg>
        <pc:picChg chg="del">
          <ac:chgData name="HALISDEMIR, Ufuk" userId="569d8f73-9a2b-46ed-81f6-ad4d857e353e" providerId="ADAL" clId="{881F6775-A9F9-4651-8C82-66FC0DB75F96}" dt="2022-09-30T13:30:16.232" v="1078" actId="478"/>
          <ac:picMkLst>
            <pc:docMk/>
            <pc:sldMk cId="1399401371" sldId="1151"/>
            <ac:picMk id="8" creationId="{E7145F80-C42E-4FC1-8E0C-65E22E25FC1C}"/>
          </ac:picMkLst>
        </pc:picChg>
        <pc:picChg chg="add del mod">
          <ac:chgData name="HALISDEMIR, Ufuk" userId="569d8f73-9a2b-46ed-81f6-ad4d857e353e" providerId="ADAL" clId="{881F6775-A9F9-4651-8C82-66FC0DB75F96}" dt="2022-09-30T13:30:21.448" v="1080"/>
          <ac:picMkLst>
            <pc:docMk/>
            <pc:sldMk cId="1399401371" sldId="1151"/>
            <ac:picMk id="9" creationId="{BE8D4DDF-D8BB-4557-BE8C-81E027F2AA72}"/>
          </ac:picMkLst>
        </pc:picChg>
        <pc:picChg chg="add del mod">
          <ac:chgData name="HALISDEMIR, Ufuk" userId="569d8f73-9a2b-46ed-81f6-ad4d857e353e" providerId="ADAL" clId="{881F6775-A9F9-4651-8C82-66FC0DB75F96}" dt="2022-09-30T13:30:21.448" v="1080"/>
          <ac:picMkLst>
            <pc:docMk/>
            <pc:sldMk cId="1399401371" sldId="1151"/>
            <ac:picMk id="10" creationId="{28862A97-CAB7-47D3-8D26-B6A90A44E813}"/>
          </ac:picMkLst>
        </pc:picChg>
        <pc:picChg chg="add del mod">
          <ac:chgData name="HALISDEMIR, Ufuk" userId="569d8f73-9a2b-46ed-81f6-ad4d857e353e" providerId="ADAL" clId="{881F6775-A9F9-4651-8C82-66FC0DB75F96}" dt="2022-09-30T13:30:21.448" v="1080"/>
          <ac:picMkLst>
            <pc:docMk/>
            <pc:sldMk cId="1399401371" sldId="1151"/>
            <ac:picMk id="11" creationId="{93AEC3D3-9659-47E6-B6E2-D4338AAF4FC4}"/>
          </ac:picMkLst>
        </pc:picChg>
        <pc:picChg chg="add del mod">
          <ac:chgData name="HALISDEMIR, Ufuk" userId="569d8f73-9a2b-46ed-81f6-ad4d857e353e" providerId="ADAL" clId="{881F6775-A9F9-4651-8C82-66FC0DB75F96}" dt="2022-09-30T13:30:26.510" v="1084"/>
          <ac:picMkLst>
            <pc:docMk/>
            <pc:sldMk cId="1399401371" sldId="1151"/>
            <ac:picMk id="12" creationId="{A379D3EB-56DB-4507-9AB2-45801BEB206E}"/>
          </ac:picMkLst>
        </pc:picChg>
        <pc:picChg chg="add del mod">
          <ac:chgData name="HALISDEMIR, Ufuk" userId="569d8f73-9a2b-46ed-81f6-ad4d857e353e" providerId="ADAL" clId="{881F6775-A9F9-4651-8C82-66FC0DB75F96}" dt="2022-09-30T13:30:26.510" v="1084"/>
          <ac:picMkLst>
            <pc:docMk/>
            <pc:sldMk cId="1399401371" sldId="1151"/>
            <ac:picMk id="13" creationId="{B4C1696D-865B-4FC9-BE0A-13DBB1CAC18B}"/>
          </ac:picMkLst>
        </pc:picChg>
        <pc:picChg chg="add del mod">
          <ac:chgData name="HALISDEMIR, Ufuk" userId="569d8f73-9a2b-46ed-81f6-ad4d857e353e" providerId="ADAL" clId="{881F6775-A9F9-4651-8C82-66FC0DB75F96}" dt="2022-09-30T13:30:26.510" v="1084"/>
          <ac:picMkLst>
            <pc:docMk/>
            <pc:sldMk cId="1399401371" sldId="1151"/>
            <ac:picMk id="14" creationId="{E45641C9-55FE-4101-A49E-8ABE1C9274FD}"/>
          </ac:picMkLst>
        </pc:picChg>
      </pc:sldChg>
      <pc:sldChg chg="addSp delSp modSp add mod">
        <pc:chgData name="HALISDEMIR, Ufuk" userId="569d8f73-9a2b-46ed-81f6-ad4d857e353e" providerId="ADAL" clId="{881F6775-A9F9-4651-8C82-66FC0DB75F96}" dt="2022-09-30T13:39:24.285" v="1188" actId="20577"/>
        <pc:sldMkLst>
          <pc:docMk/>
          <pc:sldMk cId="3394995869" sldId="1152"/>
        </pc:sldMkLst>
        <pc:spChg chg="mod">
          <ac:chgData name="HALISDEMIR, Ufuk" userId="569d8f73-9a2b-46ed-81f6-ad4d857e353e" providerId="ADAL" clId="{881F6775-A9F9-4651-8C82-66FC0DB75F96}" dt="2022-09-30T13:38:48.065" v="1134" actId="6549"/>
          <ac:spMkLst>
            <pc:docMk/>
            <pc:sldMk cId="3394995869" sldId="1152"/>
            <ac:spMk id="5" creationId="{89C7E882-7F3A-4BD4-8F2D-80CCF35CC3DC}"/>
          </ac:spMkLst>
        </pc:spChg>
        <pc:spChg chg="mod">
          <ac:chgData name="HALISDEMIR, Ufuk" userId="569d8f73-9a2b-46ed-81f6-ad4d857e353e" providerId="ADAL" clId="{881F6775-A9F9-4651-8C82-66FC0DB75F96}" dt="2022-09-30T13:39:24.285" v="1188" actId="20577"/>
          <ac:spMkLst>
            <pc:docMk/>
            <pc:sldMk cId="3394995869" sldId="1152"/>
            <ac:spMk id="6" creationId="{E482BA12-3A35-4618-96A3-96CA78B2BF34}"/>
          </ac:spMkLst>
        </pc:spChg>
        <pc:spChg chg="del">
          <ac:chgData name="HALISDEMIR, Ufuk" userId="569d8f73-9a2b-46ed-81f6-ad4d857e353e" providerId="ADAL" clId="{881F6775-A9F9-4651-8C82-66FC0DB75F96}" dt="2022-09-30T13:33:43.848" v="1127" actId="478"/>
          <ac:spMkLst>
            <pc:docMk/>
            <pc:sldMk cId="3394995869" sldId="1152"/>
            <ac:spMk id="17" creationId="{B7E70867-77B8-4840-BBE8-DA8F51820FF8}"/>
          </ac:spMkLst>
        </pc:spChg>
        <pc:spChg chg="del">
          <ac:chgData name="HALISDEMIR, Ufuk" userId="569d8f73-9a2b-46ed-81f6-ad4d857e353e" providerId="ADAL" clId="{881F6775-A9F9-4651-8C82-66FC0DB75F96}" dt="2022-09-30T13:33:43.848" v="1127" actId="478"/>
          <ac:spMkLst>
            <pc:docMk/>
            <pc:sldMk cId="3394995869" sldId="1152"/>
            <ac:spMk id="18" creationId="{95F266FB-59B9-445C-BD37-92C628ABBD29}"/>
          </ac:spMkLst>
        </pc:spChg>
        <pc:spChg chg="del">
          <ac:chgData name="HALISDEMIR, Ufuk" userId="569d8f73-9a2b-46ed-81f6-ad4d857e353e" providerId="ADAL" clId="{881F6775-A9F9-4651-8C82-66FC0DB75F96}" dt="2022-09-30T13:33:43.848" v="1127" actId="478"/>
          <ac:spMkLst>
            <pc:docMk/>
            <pc:sldMk cId="3394995869" sldId="1152"/>
            <ac:spMk id="19" creationId="{5E42AA4C-A8A6-44BD-8B95-DB8098EE9477}"/>
          </ac:spMkLst>
        </pc:spChg>
        <pc:picChg chg="del">
          <ac:chgData name="HALISDEMIR, Ufuk" userId="569d8f73-9a2b-46ed-81f6-ad4d857e353e" providerId="ADAL" clId="{881F6775-A9F9-4651-8C82-66FC0DB75F96}" dt="2022-09-30T13:33:41.644" v="1126" actId="478"/>
          <ac:picMkLst>
            <pc:docMk/>
            <pc:sldMk cId="3394995869" sldId="1152"/>
            <ac:picMk id="2" creationId="{29142D38-DDBA-4525-B4D2-4BC5F72606D1}"/>
          </ac:picMkLst>
        </pc:picChg>
        <pc:picChg chg="add mod">
          <ac:chgData name="HALISDEMIR, Ufuk" userId="569d8f73-9a2b-46ed-81f6-ad4d857e353e" providerId="ADAL" clId="{881F6775-A9F9-4651-8C82-66FC0DB75F96}" dt="2022-09-30T13:33:50.953" v="1131" actId="1076"/>
          <ac:picMkLst>
            <pc:docMk/>
            <pc:sldMk cId="3394995869" sldId="1152"/>
            <ac:picMk id="8" creationId="{98C77C9F-BC9C-4875-9468-55476BC3898F}"/>
          </ac:picMkLst>
        </pc:picChg>
      </pc:sldChg>
      <pc:sldChg chg="addSp delSp modSp add mod">
        <pc:chgData name="HALISDEMIR, Ufuk" userId="569d8f73-9a2b-46ed-81f6-ad4d857e353e" providerId="ADAL" clId="{881F6775-A9F9-4651-8C82-66FC0DB75F96}" dt="2022-09-30T13:41:01.161" v="1228" actId="21"/>
        <pc:sldMkLst>
          <pc:docMk/>
          <pc:sldMk cId="644053862" sldId="1153"/>
        </pc:sldMkLst>
        <pc:spChg chg="mod">
          <ac:chgData name="HALISDEMIR, Ufuk" userId="569d8f73-9a2b-46ed-81f6-ad4d857e353e" providerId="ADAL" clId="{881F6775-A9F9-4651-8C82-66FC0DB75F96}" dt="2022-09-30T13:39:46.478" v="1212" actId="20577"/>
          <ac:spMkLst>
            <pc:docMk/>
            <pc:sldMk cId="644053862" sldId="1153"/>
            <ac:spMk id="6" creationId="{E482BA12-3A35-4618-96A3-96CA78B2BF34}"/>
          </ac:spMkLst>
        </pc:spChg>
        <pc:picChg chg="add mod">
          <ac:chgData name="HALISDEMIR, Ufuk" userId="569d8f73-9a2b-46ed-81f6-ad4d857e353e" providerId="ADAL" clId="{881F6775-A9F9-4651-8C82-66FC0DB75F96}" dt="2022-09-30T13:40:12.327" v="1215" actId="1076"/>
          <ac:picMkLst>
            <pc:docMk/>
            <pc:sldMk cId="644053862" sldId="1153"/>
            <ac:picMk id="7" creationId="{B4BD3F66-74E9-429A-AD98-1C42BE7F8D25}"/>
          </ac:picMkLst>
        </pc:picChg>
        <pc:picChg chg="del">
          <ac:chgData name="HALISDEMIR, Ufuk" userId="569d8f73-9a2b-46ed-81f6-ad4d857e353e" providerId="ADAL" clId="{881F6775-A9F9-4651-8C82-66FC0DB75F96}" dt="2022-09-30T13:39:48.366" v="1213" actId="478"/>
          <ac:picMkLst>
            <pc:docMk/>
            <pc:sldMk cId="644053862" sldId="1153"/>
            <ac:picMk id="8" creationId="{98C77C9F-BC9C-4875-9468-55476BC3898F}"/>
          </ac:picMkLst>
        </pc:picChg>
        <pc:picChg chg="add del mod">
          <ac:chgData name="HALISDEMIR, Ufuk" userId="569d8f73-9a2b-46ed-81f6-ad4d857e353e" providerId="ADAL" clId="{881F6775-A9F9-4651-8C82-66FC0DB75F96}" dt="2022-09-30T13:41:01.161" v="1228" actId="21"/>
          <ac:picMkLst>
            <pc:docMk/>
            <pc:sldMk cId="644053862" sldId="1153"/>
            <ac:picMk id="9" creationId="{F4E7C509-CF89-4565-AE4C-E97B6894410F}"/>
          </ac:picMkLst>
        </pc:picChg>
      </pc:sldChg>
      <pc:sldChg chg="addSp delSp modSp add mod">
        <pc:chgData name="HALISDEMIR, Ufuk" userId="569d8f73-9a2b-46ed-81f6-ad4d857e353e" providerId="ADAL" clId="{881F6775-A9F9-4651-8C82-66FC0DB75F96}" dt="2022-09-30T13:41:02.938" v="1229"/>
        <pc:sldMkLst>
          <pc:docMk/>
          <pc:sldMk cId="372935651" sldId="1154"/>
        </pc:sldMkLst>
        <pc:picChg chg="del">
          <ac:chgData name="HALISDEMIR, Ufuk" userId="569d8f73-9a2b-46ed-81f6-ad4d857e353e" providerId="ADAL" clId="{881F6775-A9F9-4651-8C82-66FC0DB75F96}" dt="2022-09-30T13:40:22.138" v="1217" actId="478"/>
          <ac:picMkLst>
            <pc:docMk/>
            <pc:sldMk cId="372935651" sldId="1154"/>
            <ac:picMk id="7" creationId="{B4BD3F66-74E9-429A-AD98-1C42BE7F8D25}"/>
          </ac:picMkLst>
        </pc:picChg>
        <pc:picChg chg="add del mod">
          <ac:chgData name="HALISDEMIR, Ufuk" userId="569d8f73-9a2b-46ed-81f6-ad4d857e353e" providerId="ADAL" clId="{881F6775-A9F9-4651-8C82-66FC0DB75F96}" dt="2022-09-30T13:40:28.303" v="1222" actId="478"/>
          <ac:picMkLst>
            <pc:docMk/>
            <pc:sldMk cId="372935651" sldId="1154"/>
            <ac:picMk id="8" creationId="{A60140FB-5A91-4FA5-8217-584D4E893CB8}"/>
          </ac:picMkLst>
        </pc:picChg>
        <pc:picChg chg="add mod">
          <ac:chgData name="HALISDEMIR, Ufuk" userId="569d8f73-9a2b-46ed-81f6-ad4d857e353e" providerId="ADAL" clId="{881F6775-A9F9-4651-8C82-66FC0DB75F96}" dt="2022-09-30T13:41:02.938" v="1229"/>
          <ac:picMkLst>
            <pc:docMk/>
            <pc:sldMk cId="372935651" sldId="1154"/>
            <ac:picMk id="9" creationId="{66698B1C-8389-4A9B-AC05-342B5A5F5D12}"/>
          </ac:picMkLst>
        </pc:picChg>
      </pc:sldChg>
      <pc:sldChg chg="addSp delSp modSp add mod">
        <pc:chgData name="HALISDEMIR, Ufuk" userId="569d8f73-9a2b-46ed-81f6-ad4d857e353e" providerId="ADAL" clId="{881F6775-A9F9-4651-8C82-66FC0DB75F96}" dt="2022-09-30T13:41:28.058" v="1234" actId="1076"/>
        <pc:sldMkLst>
          <pc:docMk/>
          <pc:sldMk cId="2956059952" sldId="1155"/>
        </pc:sldMkLst>
        <pc:picChg chg="add mod">
          <ac:chgData name="HALISDEMIR, Ufuk" userId="569d8f73-9a2b-46ed-81f6-ad4d857e353e" providerId="ADAL" clId="{881F6775-A9F9-4651-8C82-66FC0DB75F96}" dt="2022-09-30T13:41:28.058" v="1234" actId="1076"/>
          <ac:picMkLst>
            <pc:docMk/>
            <pc:sldMk cId="2956059952" sldId="1155"/>
            <ac:picMk id="7" creationId="{48B5E49A-8A49-4DC2-86D8-50247D9DC508}"/>
          </ac:picMkLst>
        </pc:picChg>
        <pc:picChg chg="del">
          <ac:chgData name="HALISDEMIR, Ufuk" userId="569d8f73-9a2b-46ed-81f6-ad4d857e353e" providerId="ADAL" clId="{881F6775-A9F9-4651-8C82-66FC0DB75F96}" dt="2022-09-30T13:41:24.836" v="1232" actId="478"/>
          <ac:picMkLst>
            <pc:docMk/>
            <pc:sldMk cId="2956059952" sldId="1155"/>
            <ac:picMk id="9" creationId="{66698B1C-8389-4A9B-AC05-342B5A5F5D12}"/>
          </ac:picMkLst>
        </pc:picChg>
      </pc:sldChg>
      <pc:sldChg chg="addSp delSp modSp add mod">
        <pc:chgData name="HALISDEMIR, Ufuk" userId="569d8f73-9a2b-46ed-81f6-ad4d857e353e" providerId="ADAL" clId="{881F6775-A9F9-4651-8C82-66FC0DB75F96}" dt="2022-09-30T13:41:53.312" v="1250" actId="20577"/>
        <pc:sldMkLst>
          <pc:docMk/>
          <pc:sldMk cId="667220982" sldId="1156"/>
        </pc:sldMkLst>
        <pc:spChg chg="mod">
          <ac:chgData name="HALISDEMIR, Ufuk" userId="569d8f73-9a2b-46ed-81f6-ad4d857e353e" providerId="ADAL" clId="{881F6775-A9F9-4651-8C82-66FC0DB75F96}" dt="2022-09-30T13:41:53.312" v="1250" actId="20577"/>
          <ac:spMkLst>
            <pc:docMk/>
            <pc:sldMk cId="667220982" sldId="1156"/>
            <ac:spMk id="6" creationId="{E482BA12-3A35-4618-96A3-96CA78B2BF34}"/>
          </ac:spMkLst>
        </pc:spChg>
        <pc:picChg chg="del">
          <ac:chgData name="HALISDEMIR, Ufuk" userId="569d8f73-9a2b-46ed-81f6-ad4d857e353e" providerId="ADAL" clId="{881F6775-A9F9-4651-8C82-66FC0DB75F96}" dt="2022-09-30T13:41:44.640" v="1236" actId="478"/>
          <ac:picMkLst>
            <pc:docMk/>
            <pc:sldMk cId="667220982" sldId="1156"/>
            <ac:picMk id="7" creationId="{48B5E49A-8A49-4DC2-86D8-50247D9DC508}"/>
          </ac:picMkLst>
        </pc:picChg>
        <pc:picChg chg="add mod">
          <ac:chgData name="HALISDEMIR, Ufuk" userId="569d8f73-9a2b-46ed-81f6-ad4d857e353e" providerId="ADAL" clId="{881F6775-A9F9-4651-8C82-66FC0DB75F96}" dt="2022-09-30T13:41:48.178" v="1238" actId="1076"/>
          <ac:picMkLst>
            <pc:docMk/>
            <pc:sldMk cId="667220982" sldId="1156"/>
            <ac:picMk id="8" creationId="{03B4C35D-3BFF-4D02-88E4-003F76A56D4E}"/>
          </ac:picMkLst>
        </pc:picChg>
      </pc:sldChg>
      <pc:sldMasterChg chg="delSldLayout">
        <pc:chgData name="HALISDEMIR, Ufuk" userId="569d8f73-9a2b-46ed-81f6-ad4d857e353e" providerId="ADAL" clId="{881F6775-A9F9-4651-8C82-66FC0DB75F96}" dt="2022-09-30T13:13:09.006" v="1011" actId="47"/>
        <pc:sldMasterMkLst>
          <pc:docMk/>
          <pc:sldMasterMk cId="3148905397" sldId="2147483899"/>
        </pc:sldMasterMkLst>
        <pc:sldLayoutChg chg="del">
          <pc:chgData name="HALISDEMIR, Ufuk" userId="569d8f73-9a2b-46ed-81f6-ad4d857e353e" providerId="ADAL" clId="{881F6775-A9F9-4651-8C82-66FC0DB75F96}" dt="2022-09-30T13:13:09.006" v="1011" actId="47"/>
          <pc:sldLayoutMkLst>
            <pc:docMk/>
            <pc:sldMasterMk cId="3148905397" sldId="2147483899"/>
            <pc:sldLayoutMk cId="3270424112" sldId="2147483931"/>
          </pc:sldLayoutMkLst>
        </pc:sldLayoutChg>
      </pc:sldMasterChg>
    </pc:docChg>
  </pc:docChgLst>
  <pc:docChgLst>
    <pc:chgData name="HALISDEMIR, Ufuk" userId="569d8f73-9a2b-46ed-81f6-ad4d857e353e" providerId="ADAL" clId="{30D53801-0F48-40E0-8B10-CA3462C3EED0}"/>
    <pc:docChg chg="undo redo custSel addSld delSld modSld sldOrd modMainMaster">
      <pc:chgData name="HALISDEMIR, Ufuk" userId="569d8f73-9a2b-46ed-81f6-ad4d857e353e" providerId="ADAL" clId="{30D53801-0F48-40E0-8B10-CA3462C3EED0}" dt="2022-10-14T14:39:50.681" v="2685"/>
      <pc:docMkLst>
        <pc:docMk/>
      </pc:docMkLst>
      <pc:sldChg chg="add del">
        <pc:chgData name="HALISDEMIR, Ufuk" userId="569d8f73-9a2b-46ed-81f6-ad4d857e353e" providerId="ADAL" clId="{30D53801-0F48-40E0-8B10-CA3462C3EED0}" dt="2022-10-13T14:15:22.748" v="272" actId="47"/>
        <pc:sldMkLst>
          <pc:docMk/>
          <pc:sldMk cId="915861626" sldId="370"/>
        </pc:sldMkLst>
      </pc:sldChg>
      <pc:sldChg chg="del">
        <pc:chgData name="HALISDEMIR, Ufuk" userId="569d8f73-9a2b-46ed-81f6-ad4d857e353e" providerId="ADAL" clId="{30D53801-0F48-40E0-8B10-CA3462C3EED0}" dt="2022-10-13T15:25:27.440" v="2660" actId="47"/>
        <pc:sldMkLst>
          <pc:docMk/>
          <pc:sldMk cId="1355123851" sldId="1052"/>
        </pc:sldMkLst>
      </pc:sldChg>
      <pc:sldChg chg="del">
        <pc:chgData name="HALISDEMIR, Ufuk" userId="569d8f73-9a2b-46ed-81f6-ad4d857e353e" providerId="ADAL" clId="{30D53801-0F48-40E0-8B10-CA3462C3EED0}" dt="2022-10-13T15:25:27.440" v="2660" actId="47"/>
        <pc:sldMkLst>
          <pc:docMk/>
          <pc:sldMk cId="2580115850" sldId="1053"/>
        </pc:sldMkLst>
      </pc:sldChg>
      <pc:sldChg chg="modSp del mod">
        <pc:chgData name="HALISDEMIR, Ufuk" userId="569d8f73-9a2b-46ed-81f6-ad4d857e353e" providerId="ADAL" clId="{30D53801-0F48-40E0-8B10-CA3462C3EED0}" dt="2022-10-13T15:25:43.877" v="2662" actId="47"/>
        <pc:sldMkLst>
          <pc:docMk/>
          <pc:sldMk cId="1677881774" sldId="1056"/>
        </pc:sldMkLst>
        <pc:spChg chg="mod">
          <ac:chgData name="HALISDEMIR, Ufuk" userId="569d8f73-9a2b-46ed-81f6-ad4d857e353e" providerId="ADAL" clId="{30D53801-0F48-40E0-8B10-CA3462C3EED0}" dt="2022-10-13T14:04:16.016" v="89" actId="20577"/>
          <ac:spMkLst>
            <pc:docMk/>
            <pc:sldMk cId="1677881774" sldId="1056"/>
            <ac:spMk id="3" creationId="{EB9BAAFA-C619-43B0-964D-8714A7967CBD}"/>
          </ac:spMkLst>
        </pc:spChg>
      </pc:sldChg>
      <pc:sldChg chg="del">
        <pc:chgData name="HALISDEMIR, Ufuk" userId="569d8f73-9a2b-46ed-81f6-ad4d857e353e" providerId="ADAL" clId="{30D53801-0F48-40E0-8B10-CA3462C3EED0}" dt="2022-10-13T15:25:27.440" v="2660" actId="47"/>
        <pc:sldMkLst>
          <pc:docMk/>
          <pc:sldMk cId="1435534025" sldId="1058"/>
        </pc:sldMkLst>
      </pc:sldChg>
      <pc:sldChg chg="del">
        <pc:chgData name="HALISDEMIR, Ufuk" userId="569d8f73-9a2b-46ed-81f6-ad4d857e353e" providerId="ADAL" clId="{30D53801-0F48-40E0-8B10-CA3462C3EED0}" dt="2022-10-13T15:25:27.440" v="2660" actId="47"/>
        <pc:sldMkLst>
          <pc:docMk/>
          <pc:sldMk cId="4161943190" sldId="1059"/>
        </pc:sldMkLst>
      </pc:sldChg>
      <pc:sldChg chg="addSp delSp modSp mod modTransition modAnim">
        <pc:chgData name="HALISDEMIR, Ufuk" userId="569d8f73-9a2b-46ed-81f6-ad4d857e353e" providerId="ADAL" clId="{30D53801-0F48-40E0-8B10-CA3462C3EED0}" dt="2022-10-14T14:18:48.478" v="2672"/>
        <pc:sldMkLst>
          <pc:docMk/>
          <pc:sldMk cId="3210250137" sldId="1060"/>
        </pc:sldMkLst>
        <pc:spChg chg="mod">
          <ac:chgData name="HALISDEMIR, Ufuk" userId="569d8f73-9a2b-46ed-81f6-ad4d857e353e" providerId="ADAL" clId="{30D53801-0F48-40E0-8B10-CA3462C3EED0}" dt="2022-10-13T14:02:40.796" v="61" actId="20577"/>
          <ac:spMkLst>
            <pc:docMk/>
            <pc:sldMk cId="3210250137" sldId="1060"/>
            <ac:spMk id="5" creationId="{A7209851-4463-474D-B8ED-4904CFCA691D}"/>
          </ac:spMkLst>
        </pc:spChg>
        <pc:spChg chg="mod">
          <ac:chgData name="HALISDEMIR, Ufuk" userId="569d8f73-9a2b-46ed-81f6-ad4d857e353e" providerId="ADAL" clId="{30D53801-0F48-40E0-8B10-CA3462C3EED0}" dt="2022-10-13T13:16:21.422" v="18" actId="404"/>
          <ac:spMkLst>
            <pc:docMk/>
            <pc:sldMk cId="3210250137" sldId="1060"/>
            <ac:spMk id="11" creationId="{33940544-1F8D-47E0-8BF8-BEED038F26D9}"/>
          </ac:spMkLst>
        </pc:spChg>
        <pc:picChg chg="add del mod">
          <ac:chgData name="HALISDEMIR, Ufuk" userId="569d8f73-9a2b-46ed-81f6-ad4d857e353e" providerId="ADAL" clId="{30D53801-0F48-40E0-8B10-CA3462C3EED0}" dt="2022-10-14T14:15:11.488" v="2671"/>
          <ac:picMkLst>
            <pc:docMk/>
            <pc:sldMk cId="3210250137" sldId="1060"/>
            <ac:picMk id="3" creationId="{1BD1D241-9A39-4C03-A309-B8DF6E276D2A}"/>
          </ac:picMkLst>
        </pc:picChg>
        <pc:picChg chg="add mod">
          <ac:chgData name="HALISDEMIR, Ufuk" userId="569d8f73-9a2b-46ed-81f6-ad4d857e353e" providerId="ADAL" clId="{30D53801-0F48-40E0-8B10-CA3462C3EED0}" dt="2022-10-14T14:18:48.478" v="2672"/>
          <ac:picMkLst>
            <pc:docMk/>
            <pc:sldMk cId="3210250137" sldId="1060"/>
            <ac:picMk id="7" creationId="{F2377D48-B63C-4478-AA5F-5A6FBF92843F}"/>
          </ac:picMkLst>
        </pc:picChg>
      </pc:sldChg>
      <pc:sldChg chg="del">
        <pc:chgData name="HALISDEMIR, Ufuk" userId="569d8f73-9a2b-46ed-81f6-ad4d857e353e" providerId="ADAL" clId="{30D53801-0F48-40E0-8B10-CA3462C3EED0}" dt="2022-10-13T15:25:27.440" v="2660" actId="47"/>
        <pc:sldMkLst>
          <pc:docMk/>
          <pc:sldMk cId="547436763" sldId="1062"/>
        </pc:sldMkLst>
      </pc:sldChg>
      <pc:sldChg chg="del">
        <pc:chgData name="HALISDEMIR, Ufuk" userId="569d8f73-9a2b-46ed-81f6-ad4d857e353e" providerId="ADAL" clId="{30D53801-0F48-40E0-8B10-CA3462C3EED0}" dt="2022-10-13T15:25:27.440" v="2660" actId="47"/>
        <pc:sldMkLst>
          <pc:docMk/>
          <pc:sldMk cId="1367762776" sldId="1070"/>
        </pc:sldMkLst>
      </pc:sldChg>
      <pc:sldChg chg="addSp modSp mod modTransition">
        <pc:chgData name="HALISDEMIR, Ufuk" userId="569d8f73-9a2b-46ed-81f6-ad4d857e353e" providerId="ADAL" clId="{30D53801-0F48-40E0-8B10-CA3462C3EED0}" dt="2022-10-14T14:39:50.681" v="2685"/>
        <pc:sldMkLst>
          <pc:docMk/>
          <pc:sldMk cId="2860177778" sldId="1090"/>
        </pc:sldMkLst>
        <pc:spChg chg="mod">
          <ac:chgData name="HALISDEMIR, Ufuk" userId="569d8f73-9a2b-46ed-81f6-ad4d857e353e" providerId="ADAL" clId="{30D53801-0F48-40E0-8B10-CA3462C3EED0}" dt="2022-10-13T15:25:30.045" v="2661" actId="20577"/>
          <ac:spMkLst>
            <pc:docMk/>
            <pc:sldMk cId="2860177778" sldId="1090"/>
            <ac:spMk id="3" creationId="{A4F01D2E-E588-48E0-AFF4-9E0D599EEEE7}"/>
          </ac:spMkLst>
        </pc:spChg>
        <pc:picChg chg="add mod">
          <ac:chgData name="HALISDEMIR, Ufuk" userId="569d8f73-9a2b-46ed-81f6-ad4d857e353e" providerId="ADAL" clId="{30D53801-0F48-40E0-8B10-CA3462C3EED0}" dt="2022-10-14T14:39:50.681" v="2685"/>
          <ac:picMkLst>
            <pc:docMk/>
            <pc:sldMk cId="2860177778" sldId="1090"/>
            <ac:picMk id="4" creationId="{932A3493-ABBB-45CA-9276-98DBB548AAB7}"/>
          </ac:picMkLst>
        </pc:picChg>
      </pc:sldChg>
      <pc:sldChg chg="modTransition">
        <pc:chgData name="HALISDEMIR, Ufuk" userId="569d8f73-9a2b-46ed-81f6-ad4d857e353e" providerId="ADAL" clId="{30D53801-0F48-40E0-8B10-CA3462C3EED0}" dt="2022-10-14T14:15:11.488" v="2671"/>
        <pc:sldMkLst>
          <pc:docMk/>
          <pc:sldMk cId="1680553132" sldId="1091"/>
        </pc:sldMkLst>
      </pc:sldChg>
      <pc:sldChg chg="del">
        <pc:chgData name="HALISDEMIR, Ufuk" userId="569d8f73-9a2b-46ed-81f6-ad4d857e353e" providerId="ADAL" clId="{30D53801-0F48-40E0-8B10-CA3462C3EED0}" dt="2022-10-13T15:25:27.440" v="2660" actId="47"/>
        <pc:sldMkLst>
          <pc:docMk/>
          <pc:sldMk cId="3291934556" sldId="1093"/>
        </pc:sldMkLst>
      </pc:sldChg>
      <pc:sldChg chg="del">
        <pc:chgData name="HALISDEMIR, Ufuk" userId="569d8f73-9a2b-46ed-81f6-ad4d857e353e" providerId="ADAL" clId="{30D53801-0F48-40E0-8B10-CA3462C3EED0}" dt="2022-10-13T15:25:27.440" v="2660" actId="47"/>
        <pc:sldMkLst>
          <pc:docMk/>
          <pc:sldMk cId="3837480437" sldId="1095"/>
        </pc:sldMkLst>
      </pc:sldChg>
      <pc:sldChg chg="del">
        <pc:chgData name="HALISDEMIR, Ufuk" userId="569d8f73-9a2b-46ed-81f6-ad4d857e353e" providerId="ADAL" clId="{30D53801-0F48-40E0-8B10-CA3462C3EED0}" dt="2022-10-13T15:25:27.440" v="2660" actId="47"/>
        <pc:sldMkLst>
          <pc:docMk/>
          <pc:sldMk cId="1155720427" sldId="1099"/>
        </pc:sldMkLst>
      </pc:sldChg>
      <pc:sldChg chg="del">
        <pc:chgData name="HALISDEMIR, Ufuk" userId="569d8f73-9a2b-46ed-81f6-ad4d857e353e" providerId="ADAL" clId="{30D53801-0F48-40E0-8B10-CA3462C3EED0}" dt="2022-10-13T15:25:27.440" v="2660" actId="47"/>
        <pc:sldMkLst>
          <pc:docMk/>
          <pc:sldMk cId="287874351" sldId="1131"/>
        </pc:sldMkLst>
      </pc:sldChg>
      <pc:sldChg chg="del">
        <pc:chgData name="HALISDEMIR, Ufuk" userId="569d8f73-9a2b-46ed-81f6-ad4d857e353e" providerId="ADAL" clId="{30D53801-0F48-40E0-8B10-CA3462C3EED0}" dt="2022-10-13T15:25:27.440" v="2660" actId="47"/>
        <pc:sldMkLst>
          <pc:docMk/>
          <pc:sldMk cId="4009114513" sldId="1132"/>
        </pc:sldMkLst>
      </pc:sldChg>
      <pc:sldChg chg="addSp delSp modSp mod modTransition modAnim">
        <pc:chgData name="HALISDEMIR, Ufuk" userId="569d8f73-9a2b-46ed-81f6-ad4d857e353e" providerId="ADAL" clId="{30D53801-0F48-40E0-8B10-CA3462C3EED0}" dt="2022-10-14T14:18:48.478" v="2672"/>
        <pc:sldMkLst>
          <pc:docMk/>
          <pc:sldMk cId="2692149186" sldId="1139"/>
        </pc:sldMkLst>
        <pc:spChg chg="mod">
          <ac:chgData name="HALISDEMIR, Ufuk" userId="569d8f73-9a2b-46ed-81f6-ad4d857e353e" providerId="ADAL" clId="{30D53801-0F48-40E0-8B10-CA3462C3EED0}" dt="2022-10-13T14:47:43.902" v="1341" actId="404"/>
          <ac:spMkLst>
            <pc:docMk/>
            <pc:sldMk cId="2692149186" sldId="1139"/>
            <ac:spMk id="3" creationId="{4A04CCCB-5A93-4316-BDC5-F8EB102EEE3F}"/>
          </ac:spMkLst>
        </pc:spChg>
        <pc:spChg chg="mod">
          <ac:chgData name="HALISDEMIR, Ufuk" userId="569d8f73-9a2b-46ed-81f6-ad4d857e353e" providerId="ADAL" clId="{30D53801-0F48-40E0-8B10-CA3462C3EED0}" dt="2022-10-14T12:42:18.726" v="2666" actId="1076"/>
          <ac:spMkLst>
            <pc:docMk/>
            <pc:sldMk cId="2692149186" sldId="1139"/>
            <ac:spMk id="5" creationId="{93799071-C668-45D0-BA0C-7D3510B005A2}"/>
          </ac:spMkLst>
        </pc:spChg>
        <pc:spChg chg="add del">
          <ac:chgData name="HALISDEMIR, Ufuk" userId="569d8f73-9a2b-46ed-81f6-ad4d857e353e" providerId="ADAL" clId="{30D53801-0F48-40E0-8B10-CA3462C3EED0}" dt="2022-10-13T14:08:58.648" v="125" actId="22"/>
          <ac:spMkLst>
            <pc:docMk/>
            <pc:sldMk cId="2692149186" sldId="1139"/>
            <ac:spMk id="7" creationId="{7EEEA952-3154-47A7-BF13-A010976FD230}"/>
          </ac:spMkLst>
        </pc:spChg>
        <pc:spChg chg="add del mod">
          <ac:chgData name="HALISDEMIR, Ufuk" userId="569d8f73-9a2b-46ed-81f6-ad4d857e353e" providerId="ADAL" clId="{30D53801-0F48-40E0-8B10-CA3462C3EED0}" dt="2022-10-13T14:09:01.743" v="128" actId="478"/>
          <ac:spMkLst>
            <pc:docMk/>
            <pc:sldMk cId="2692149186" sldId="1139"/>
            <ac:spMk id="9" creationId="{723E31D7-F6B8-4A3D-B2CA-371D5339DB05}"/>
          </ac:spMkLst>
        </pc:spChg>
        <pc:spChg chg="add del mod">
          <ac:chgData name="HALISDEMIR, Ufuk" userId="569d8f73-9a2b-46ed-81f6-ad4d857e353e" providerId="ADAL" clId="{30D53801-0F48-40E0-8B10-CA3462C3EED0}" dt="2022-10-13T14:09:20.163" v="135" actId="478"/>
          <ac:spMkLst>
            <pc:docMk/>
            <pc:sldMk cId="2692149186" sldId="1139"/>
            <ac:spMk id="11" creationId="{4C97A7D0-E442-4D18-B84D-3890963296E4}"/>
          </ac:spMkLst>
        </pc:spChg>
        <pc:spChg chg="add del">
          <ac:chgData name="HALISDEMIR, Ufuk" userId="569d8f73-9a2b-46ed-81f6-ad4d857e353e" providerId="ADAL" clId="{30D53801-0F48-40E0-8B10-CA3462C3EED0}" dt="2022-10-13T14:09:22.710" v="137" actId="22"/>
          <ac:spMkLst>
            <pc:docMk/>
            <pc:sldMk cId="2692149186" sldId="1139"/>
            <ac:spMk id="13" creationId="{33D645F2-58F4-4BA1-B943-65C7243C4B51}"/>
          </ac:spMkLst>
        </pc:spChg>
        <pc:spChg chg="add mod">
          <ac:chgData name="HALISDEMIR, Ufuk" userId="569d8f73-9a2b-46ed-81f6-ad4d857e353e" providerId="ADAL" clId="{30D53801-0F48-40E0-8B10-CA3462C3EED0}" dt="2022-10-14T12:42:18.726" v="2666" actId="1076"/>
          <ac:spMkLst>
            <pc:docMk/>
            <pc:sldMk cId="2692149186" sldId="1139"/>
            <ac:spMk id="15" creationId="{21DF8806-EFB0-4E52-A3F0-6421923D6408}"/>
          </ac:spMkLst>
        </pc:spChg>
        <pc:spChg chg="add mod">
          <ac:chgData name="HALISDEMIR, Ufuk" userId="569d8f73-9a2b-46ed-81f6-ad4d857e353e" providerId="ADAL" clId="{30D53801-0F48-40E0-8B10-CA3462C3EED0}" dt="2022-10-13T14:14:23.764" v="269" actId="1037"/>
          <ac:spMkLst>
            <pc:docMk/>
            <pc:sldMk cId="2692149186" sldId="1139"/>
            <ac:spMk id="16" creationId="{A6F48F52-D477-42F4-A896-A50028B06F97}"/>
          </ac:spMkLst>
        </pc:spChg>
        <pc:spChg chg="add mod">
          <ac:chgData name="HALISDEMIR, Ufuk" userId="569d8f73-9a2b-46ed-81f6-ad4d857e353e" providerId="ADAL" clId="{30D53801-0F48-40E0-8B10-CA3462C3EED0}" dt="2022-10-13T14:14:09.737" v="258" actId="408"/>
          <ac:spMkLst>
            <pc:docMk/>
            <pc:sldMk cId="2692149186" sldId="1139"/>
            <ac:spMk id="17" creationId="{110F722B-E461-4319-ADB5-1E0087E1F16D}"/>
          </ac:spMkLst>
        </pc:spChg>
        <pc:spChg chg="add mod">
          <ac:chgData name="HALISDEMIR, Ufuk" userId="569d8f73-9a2b-46ed-81f6-ad4d857e353e" providerId="ADAL" clId="{30D53801-0F48-40E0-8B10-CA3462C3EED0}" dt="2022-10-13T14:14:02.880" v="257" actId="1076"/>
          <ac:spMkLst>
            <pc:docMk/>
            <pc:sldMk cId="2692149186" sldId="1139"/>
            <ac:spMk id="18" creationId="{3B194C3C-FBE2-45F6-BCC2-38FD2D11841D}"/>
          </ac:spMkLst>
        </pc:spChg>
        <pc:spChg chg="add mod">
          <ac:chgData name="HALISDEMIR, Ufuk" userId="569d8f73-9a2b-46ed-81f6-ad4d857e353e" providerId="ADAL" clId="{30D53801-0F48-40E0-8B10-CA3462C3EED0}" dt="2022-10-13T14:14:25.411" v="271" actId="1038"/>
          <ac:spMkLst>
            <pc:docMk/>
            <pc:sldMk cId="2692149186" sldId="1139"/>
            <ac:spMk id="19" creationId="{066F45BD-1E60-413C-8029-773C2C5CED11}"/>
          </ac:spMkLst>
        </pc:spChg>
        <pc:spChg chg="add mod">
          <ac:chgData name="HALISDEMIR, Ufuk" userId="569d8f73-9a2b-46ed-81f6-ad4d857e353e" providerId="ADAL" clId="{30D53801-0F48-40E0-8B10-CA3462C3EED0}" dt="2022-10-13T14:14:09.737" v="258" actId="408"/>
          <ac:spMkLst>
            <pc:docMk/>
            <pc:sldMk cId="2692149186" sldId="1139"/>
            <ac:spMk id="20" creationId="{5DCB754F-1E47-4377-9EE4-91CEC720D1B7}"/>
          </ac:spMkLst>
        </pc:spChg>
        <pc:graphicFrameChg chg="add del modGraphic">
          <ac:chgData name="HALISDEMIR, Ufuk" userId="569d8f73-9a2b-46ed-81f6-ad4d857e353e" providerId="ADAL" clId="{30D53801-0F48-40E0-8B10-CA3462C3EED0}" dt="2022-10-13T14:13:38.609" v="251" actId="478"/>
          <ac:graphicFrameMkLst>
            <pc:docMk/>
            <pc:sldMk cId="2692149186" sldId="1139"/>
            <ac:graphicFrameMk id="22" creationId="{DDA786A5-71BD-45A7-802C-6481E8ADF005}"/>
          </ac:graphicFrameMkLst>
        </pc:graphicFrameChg>
        <pc:picChg chg="add del mod">
          <ac:chgData name="HALISDEMIR, Ufuk" userId="569d8f73-9a2b-46ed-81f6-ad4d857e353e" providerId="ADAL" clId="{30D53801-0F48-40E0-8B10-CA3462C3EED0}" dt="2022-10-14T14:15:11.488" v="2671"/>
          <ac:picMkLst>
            <pc:docMk/>
            <pc:sldMk cId="2692149186" sldId="1139"/>
            <ac:picMk id="4" creationId="{6C5928D7-32A6-4B66-8D45-E256B4AD0335}"/>
          </ac:picMkLst>
        </pc:picChg>
        <pc:picChg chg="del">
          <ac:chgData name="HALISDEMIR, Ufuk" userId="569d8f73-9a2b-46ed-81f6-ad4d857e353e" providerId="ADAL" clId="{30D53801-0F48-40E0-8B10-CA3462C3EED0}" dt="2022-10-13T14:05:15.490" v="90" actId="21"/>
          <ac:picMkLst>
            <pc:docMk/>
            <pc:sldMk cId="2692149186" sldId="1139"/>
            <ac:picMk id="6" creationId="{35A08B66-1F83-412B-B44B-CC16E83A6439}"/>
          </ac:picMkLst>
        </pc:picChg>
        <pc:picChg chg="add mod">
          <ac:chgData name="HALISDEMIR, Ufuk" userId="569d8f73-9a2b-46ed-81f6-ad4d857e353e" providerId="ADAL" clId="{30D53801-0F48-40E0-8B10-CA3462C3EED0}" dt="2022-10-14T14:18:48.478" v="2672"/>
          <ac:picMkLst>
            <pc:docMk/>
            <pc:sldMk cId="2692149186" sldId="1139"/>
            <ac:picMk id="6" creationId="{AD0F1CFC-09C3-4F8F-920F-4D2BF02F891F}"/>
          </ac:picMkLst>
        </pc:picChg>
        <pc:picChg chg="add del mod">
          <ac:chgData name="HALISDEMIR, Ufuk" userId="569d8f73-9a2b-46ed-81f6-ad4d857e353e" providerId="ADAL" clId="{30D53801-0F48-40E0-8B10-CA3462C3EED0}" dt="2022-10-13T14:12:57.860" v="248" actId="478"/>
          <ac:picMkLst>
            <pc:docMk/>
            <pc:sldMk cId="2692149186" sldId="1139"/>
            <ac:picMk id="21" creationId="{B78186FD-A5B3-4C33-B24B-EBE187A5258C}"/>
          </ac:picMkLst>
        </pc:picChg>
        <pc:picChg chg="add mod">
          <ac:chgData name="HALISDEMIR, Ufuk" userId="569d8f73-9a2b-46ed-81f6-ad4d857e353e" providerId="ADAL" clId="{30D53801-0F48-40E0-8B10-CA3462C3EED0}" dt="2022-10-13T14:14:09.737" v="258" actId="408"/>
          <ac:picMkLst>
            <pc:docMk/>
            <pc:sldMk cId="2692149186" sldId="1139"/>
            <ac:picMk id="1026" creationId="{2D6CE1FE-FEB7-4B4B-AE0A-9F0380F6062B}"/>
          </ac:picMkLst>
        </pc:picChg>
        <pc:picChg chg="add del">
          <ac:chgData name="HALISDEMIR, Ufuk" userId="569d8f73-9a2b-46ed-81f6-ad4d857e353e" providerId="ADAL" clId="{30D53801-0F48-40E0-8B10-CA3462C3EED0}" dt="2022-10-13T14:19:52.818" v="382"/>
          <ac:picMkLst>
            <pc:docMk/>
            <pc:sldMk cId="2692149186" sldId="1139"/>
            <ac:picMk id="1028" creationId="{AA7AD5AD-DB59-455E-BA35-E61959527E3D}"/>
          </ac:picMkLst>
        </pc:picChg>
      </pc:sldChg>
      <pc:sldChg chg="del">
        <pc:chgData name="HALISDEMIR, Ufuk" userId="569d8f73-9a2b-46ed-81f6-ad4d857e353e" providerId="ADAL" clId="{30D53801-0F48-40E0-8B10-CA3462C3EED0}" dt="2022-10-13T15:25:27.440" v="2660" actId="47"/>
        <pc:sldMkLst>
          <pc:docMk/>
          <pc:sldMk cId="2012346138" sldId="1140"/>
        </pc:sldMkLst>
      </pc:sldChg>
      <pc:sldChg chg="del">
        <pc:chgData name="HALISDEMIR, Ufuk" userId="569d8f73-9a2b-46ed-81f6-ad4d857e353e" providerId="ADAL" clId="{30D53801-0F48-40E0-8B10-CA3462C3EED0}" dt="2022-10-13T15:25:27.440" v="2660" actId="47"/>
        <pc:sldMkLst>
          <pc:docMk/>
          <pc:sldMk cId="757353374" sldId="1141"/>
        </pc:sldMkLst>
      </pc:sldChg>
      <pc:sldChg chg="del">
        <pc:chgData name="HALISDEMIR, Ufuk" userId="569d8f73-9a2b-46ed-81f6-ad4d857e353e" providerId="ADAL" clId="{30D53801-0F48-40E0-8B10-CA3462C3EED0}" dt="2022-10-13T15:25:27.440" v="2660" actId="47"/>
        <pc:sldMkLst>
          <pc:docMk/>
          <pc:sldMk cId="917834024" sldId="1142"/>
        </pc:sldMkLst>
      </pc:sldChg>
      <pc:sldChg chg="del">
        <pc:chgData name="HALISDEMIR, Ufuk" userId="569d8f73-9a2b-46ed-81f6-ad4d857e353e" providerId="ADAL" clId="{30D53801-0F48-40E0-8B10-CA3462C3EED0}" dt="2022-10-13T15:25:27.440" v="2660" actId="47"/>
        <pc:sldMkLst>
          <pc:docMk/>
          <pc:sldMk cId="2982045131" sldId="1143"/>
        </pc:sldMkLst>
      </pc:sldChg>
      <pc:sldChg chg="del">
        <pc:chgData name="HALISDEMIR, Ufuk" userId="569d8f73-9a2b-46ed-81f6-ad4d857e353e" providerId="ADAL" clId="{30D53801-0F48-40E0-8B10-CA3462C3EED0}" dt="2022-10-13T15:25:27.440" v="2660" actId="47"/>
        <pc:sldMkLst>
          <pc:docMk/>
          <pc:sldMk cId="648804112" sldId="1144"/>
        </pc:sldMkLst>
      </pc:sldChg>
      <pc:sldChg chg="del">
        <pc:chgData name="HALISDEMIR, Ufuk" userId="569d8f73-9a2b-46ed-81f6-ad4d857e353e" providerId="ADAL" clId="{30D53801-0F48-40E0-8B10-CA3462C3EED0}" dt="2022-10-13T15:25:45.679" v="2663" actId="47"/>
        <pc:sldMkLst>
          <pc:docMk/>
          <pc:sldMk cId="1791800626" sldId="1145"/>
        </pc:sldMkLst>
      </pc:sldChg>
      <pc:sldChg chg="del">
        <pc:chgData name="HALISDEMIR, Ufuk" userId="569d8f73-9a2b-46ed-81f6-ad4d857e353e" providerId="ADAL" clId="{30D53801-0F48-40E0-8B10-CA3462C3EED0}" dt="2022-10-13T15:25:27.440" v="2660" actId="47"/>
        <pc:sldMkLst>
          <pc:docMk/>
          <pc:sldMk cId="3033752359" sldId="1146"/>
        </pc:sldMkLst>
      </pc:sldChg>
      <pc:sldChg chg="del">
        <pc:chgData name="HALISDEMIR, Ufuk" userId="569d8f73-9a2b-46ed-81f6-ad4d857e353e" providerId="ADAL" clId="{30D53801-0F48-40E0-8B10-CA3462C3EED0}" dt="2022-10-13T15:25:27.440" v="2660" actId="47"/>
        <pc:sldMkLst>
          <pc:docMk/>
          <pc:sldMk cId="2371207852" sldId="1147"/>
        </pc:sldMkLst>
      </pc:sldChg>
      <pc:sldChg chg="del">
        <pc:chgData name="HALISDEMIR, Ufuk" userId="569d8f73-9a2b-46ed-81f6-ad4d857e353e" providerId="ADAL" clId="{30D53801-0F48-40E0-8B10-CA3462C3EED0}" dt="2022-10-13T15:25:27.440" v="2660" actId="47"/>
        <pc:sldMkLst>
          <pc:docMk/>
          <pc:sldMk cId="4234577376" sldId="1148"/>
        </pc:sldMkLst>
      </pc:sldChg>
      <pc:sldChg chg="del">
        <pc:chgData name="HALISDEMIR, Ufuk" userId="569d8f73-9a2b-46ed-81f6-ad4d857e353e" providerId="ADAL" clId="{30D53801-0F48-40E0-8B10-CA3462C3EED0}" dt="2022-10-13T15:25:27.440" v="2660" actId="47"/>
        <pc:sldMkLst>
          <pc:docMk/>
          <pc:sldMk cId="1312668698" sldId="1149"/>
        </pc:sldMkLst>
      </pc:sldChg>
      <pc:sldChg chg="del">
        <pc:chgData name="HALISDEMIR, Ufuk" userId="569d8f73-9a2b-46ed-81f6-ad4d857e353e" providerId="ADAL" clId="{30D53801-0F48-40E0-8B10-CA3462C3EED0}" dt="2022-10-13T15:25:27.440" v="2660" actId="47"/>
        <pc:sldMkLst>
          <pc:docMk/>
          <pc:sldMk cId="3818444039" sldId="1150"/>
        </pc:sldMkLst>
      </pc:sldChg>
      <pc:sldChg chg="del">
        <pc:chgData name="HALISDEMIR, Ufuk" userId="569d8f73-9a2b-46ed-81f6-ad4d857e353e" providerId="ADAL" clId="{30D53801-0F48-40E0-8B10-CA3462C3EED0}" dt="2022-10-13T15:25:27.440" v="2660" actId="47"/>
        <pc:sldMkLst>
          <pc:docMk/>
          <pc:sldMk cId="1399401371" sldId="1151"/>
        </pc:sldMkLst>
      </pc:sldChg>
      <pc:sldChg chg="del">
        <pc:chgData name="HALISDEMIR, Ufuk" userId="569d8f73-9a2b-46ed-81f6-ad4d857e353e" providerId="ADAL" clId="{30D53801-0F48-40E0-8B10-CA3462C3EED0}" dt="2022-10-13T15:25:27.440" v="2660" actId="47"/>
        <pc:sldMkLst>
          <pc:docMk/>
          <pc:sldMk cId="3394995869" sldId="1152"/>
        </pc:sldMkLst>
      </pc:sldChg>
      <pc:sldChg chg="del">
        <pc:chgData name="HALISDEMIR, Ufuk" userId="569d8f73-9a2b-46ed-81f6-ad4d857e353e" providerId="ADAL" clId="{30D53801-0F48-40E0-8B10-CA3462C3EED0}" dt="2022-10-13T15:25:27.440" v="2660" actId="47"/>
        <pc:sldMkLst>
          <pc:docMk/>
          <pc:sldMk cId="644053862" sldId="1153"/>
        </pc:sldMkLst>
      </pc:sldChg>
      <pc:sldChg chg="del">
        <pc:chgData name="HALISDEMIR, Ufuk" userId="569d8f73-9a2b-46ed-81f6-ad4d857e353e" providerId="ADAL" clId="{30D53801-0F48-40E0-8B10-CA3462C3EED0}" dt="2022-10-13T15:25:27.440" v="2660" actId="47"/>
        <pc:sldMkLst>
          <pc:docMk/>
          <pc:sldMk cId="372935651" sldId="1154"/>
        </pc:sldMkLst>
      </pc:sldChg>
      <pc:sldChg chg="del">
        <pc:chgData name="HALISDEMIR, Ufuk" userId="569d8f73-9a2b-46ed-81f6-ad4d857e353e" providerId="ADAL" clId="{30D53801-0F48-40E0-8B10-CA3462C3EED0}" dt="2022-10-13T15:25:27.440" v="2660" actId="47"/>
        <pc:sldMkLst>
          <pc:docMk/>
          <pc:sldMk cId="2956059952" sldId="1155"/>
        </pc:sldMkLst>
      </pc:sldChg>
      <pc:sldChg chg="del">
        <pc:chgData name="HALISDEMIR, Ufuk" userId="569d8f73-9a2b-46ed-81f6-ad4d857e353e" providerId="ADAL" clId="{30D53801-0F48-40E0-8B10-CA3462C3EED0}" dt="2022-10-13T15:25:27.440" v="2660" actId="47"/>
        <pc:sldMkLst>
          <pc:docMk/>
          <pc:sldMk cId="667220982" sldId="1156"/>
        </pc:sldMkLst>
      </pc:sldChg>
      <pc:sldChg chg="addSp delSp modSp add mod modTransition">
        <pc:chgData name="HALISDEMIR, Ufuk" userId="569d8f73-9a2b-46ed-81f6-ad4d857e353e" providerId="ADAL" clId="{30D53801-0F48-40E0-8B10-CA3462C3EED0}" dt="2022-10-14T14:18:48.478" v="2672"/>
        <pc:sldMkLst>
          <pc:docMk/>
          <pc:sldMk cId="3606498534" sldId="1157"/>
        </pc:sldMkLst>
        <pc:spChg chg="mod">
          <ac:chgData name="HALISDEMIR, Ufuk" userId="569d8f73-9a2b-46ed-81f6-ad4d857e353e" providerId="ADAL" clId="{30D53801-0F48-40E0-8B10-CA3462C3EED0}" dt="2022-10-13T14:47:53.755" v="1342"/>
          <ac:spMkLst>
            <pc:docMk/>
            <pc:sldMk cId="3606498534" sldId="1157"/>
            <ac:spMk id="3" creationId="{4A04CCCB-5A93-4316-BDC5-F8EB102EEE3F}"/>
          </ac:spMkLst>
        </pc:spChg>
        <pc:spChg chg="mod">
          <ac:chgData name="HALISDEMIR, Ufuk" userId="569d8f73-9a2b-46ed-81f6-ad4d857e353e" providerId="ADAL" clId="{30D53801-0F48-40E0-8B10-CA3462C3EED0}" dt="2022-10-13T14:16:30.326" v="366" actId="115"/>
          <ac:spMkLst>
            <pc:docMk/>
            <pc:sldMk cId="3606498534" sldId="1157"/>
            <ac:spMk id="5" creationId="{93799071-C668-45D0-BA0C-7D3510B005A2}"/>
          </ac:spMkLst>
        </pc:spChg>
        <pc:spChg chg="add mod">
          <ac:chgData name="HALISDEMIR, Ufuk" userId="569d8f73-9a2b-46ed-81f6-ad4d857e353e" providerId="ADAL" clId="{30D53801-0F48-40E0-8B10-CA3462C3EED0}" dt="2022-10-13T14:21:04.177" v="395" actId="1076"/>
          <ac:spMkLst>
            <pc:docMk/>
            <pc:sldMk cId="3606498534" sldId="1157"/>
            <ac:spMk id="6" creationId="{BB6B486D-B0AD-4F3A-912E-712FA487953E}"/>
          </ac:spMkLst>
        </pc:spChg>
        <pc:spChg chg="del">
          <ac:chgData name="HALISDEMIR, Ufuk" userId="569d8f73-9a2b-46ed-81f6-ad4d857e353e" providerId="ADAL" clId="{30D53801-0F48-40E0-8B10-CA3462C3EED0}" dt="2022-10-13T14:16:36.540" v="367" actId="478"/>
          <ac:spMkLst>
            <pc:docMk/>
            <pc:sldMk cId="3606498534" sldId="1157"/>
            <ac:spMk id="15" creationId="{21DF8806-EFB0-4E52-A3F0-6421923D6408}"/>
          </ac:spMkLst>
        </pc:spChg>
        <pc:spChg chg="del">
          <ac:chgData name="HALISDEMIR, Ufuk" userId="569d8f73-9a2b-46ed-81f6-ad4d857e353e" providerId="ADAL" clId="{30D53801-0F48-40E0-8B10-CA3462C3EED0}" dt="2022-10-13T14:16:36.540" v="367" actId="478"/>
          <ac:spMkLst>
            <pc:docMk/>
            <pc:sldMk cId="3606498534" sldId="1157"/>
            <ac:spMk id="16" creationId="{A6F48F52-D477-42F4-A896-A50028B06F97}"/>
          </ac:spMkLst>
        </pc:spChg>
        <pc:spChg chg="del">
          <ac:chgData name="HALISDEMIR, Ufuk" userId="569d8f73-9a2b-46ed-81f6-ad4d857e353e" providerId="ADAL" clId="{30D53801-0F48-40E0-8B10-CA3462C3EED0}" dt="2022-10-13T14:16:36.540" v="367" actId="478"/>
          <ac:spMkLst>
            <pc:docMk/>
            <pc:sldMk cId="3606498534" sldId="1157"/>
            <ac:spMk id="17" creationId="{110F722B-E461-4319-ADB5-1E0087E1F16D}"/>
          </ac:spMkLst>
        </pc:spChg>
        <pc:spChg chg="del">
          <ac:chgData name="HALISDEMIR, Ufuk" userId="569d8f73-9a2b-46ed-81f6-ad4d857e353e" providerId="ADAL" clId="{30D53801-0F48-40E0-8B10-CA3462C3EED0}" dt="2022-10-13T14:16:36.540" v="367" actId="478"/>
          <ac:spMkLst>
            <pc:docMk/>
            <pc:sldMk cId="3606498534" sldId="1157"/>
            <ac:spMk id="18" creationId="{3B194C3C-FBE2-45F6-BCC2-38FD2D11841D}"/>
          </ac:spMkLst>
        </pc:spChg>
        <pc:spChg chg="del">
          <ac:chgData name="HALISDEMIR, Ufuk" userId="569d8f73-9a2b-46ed-81f6-ad4d857e353e" providerId="ADAL" clId="{30D53801-0F48-40E0-8B10-CA3462C3EED0}" dt="2022-10-13T14:16:36.540" v="367" actId="478"/>
          <ac:spMkLst>
            <pc:docMk/>
            <pc:sldMk cId="3606498534" sldId="1157"/>
            <ac:spMk id="19" creationId="{066F45BD-1E60-413C-8029-773C2C5CED11}"/>
          </ac:spMkLst>
        </pc:spChg>
        <pc:spChg chg="del">
          <ac:chgData name="HALISDEMIR, Ufuk" userId="569d8f73-9a2b-46ed-81f6-ad4d857e353e" providerId="ADAL" clId="{30D53801-0F48-40E0-8B10-CA3462C3EED0}" dt="2022-10-13T14:16:36.540" v="367" actId="478"/>
          <ac:spMkLst>
            <pc:docMk/>
            <pc:sldMk cId="3606498534" sldId="1157"/>
            <ac:spMk id="20" creationId="{5DCB754F-1E47-4377-9EE4-91CEC720D1B7}"/>
          </ac:spMkLst>
        </pc:spChg>
        <pc:spChg chg="add del">
          <ac:chgData name="HALISDEMIR, Ufuk" userId="569d8f73-9a2b-46ed-81f6-ad4d857e353e" providerId="ADAL" clId="{30D53801-0F48-40E0-8B10-CA3462C3EED0}" dt="2022-10-13T14:18:35.818" v="378" actId="22"/>
          <ac:spMkLst>
            <pc:docMk/>
            <pc:sldMk cId="3606498534" sldId="1157"/>
            <ac:spMk id="21" creationId="{9E49912B-D786-43DE-9C7A-0E1919B463CB}"/>
          </ac:spMkLst>
        </pc:spChg>
        <pc:picChg chg="add mod">
          <ac:chgData name="HALISDEMIR, Ufuk" userId="569d8f73-9a2b-46ed-81f6-ad4d857e353e" providerId="ADAL" clId="{30D53801-0F48-40E0-8B10-CA3462C3EED0}" dt="2022-10-14T14:18:48.478" v="2672"/>
          <ac:picMkLst>
            <pc:docMk/>
            <pc:sldMk cId="3606498534" sldId="1157"/>
            <ac:picMk id="4" creationId="{751B1935-2EF6-4BC8-A45E-82C8B06DFCCE}"/>
          </ac:picMkLst>
        </pc:picChg>
        <pc:picChg chg="del">
          <ac:chgData name="HALISDEMIR, Ufuk" userId="569d8f73-9a2b-46ed-81f6-ad4d857e353e" providerId="ADAL" clId="{30D53801-0F48-40E0-8B10-CA3462C3EED0}" dt="2022-10-13T14:16:36.540" v="367" actId="478"/>
          <ac:picMkLst>
            <pc:docMk/>
            <pc:sldMk cId="3606498534" sldId="1157"/>
            <ac:picMk id="1026" creationId="{2D6CE1FE-FEB7-4B4B-AE0A-9F0380F6062B}"/>
          </ac:picMkLst>
        </pc:picChg>
        <pc:picChg chg="add mod">
          <ac:chgData name="HALISDEMIR, Ufuk" userId="569d8f73-9a2b-46ed-81f6-ad4d857e353e" providerId="ADAL" clId="{30D53801-0F48-40E0-8B10-CA3462C3EED0}" dt="2022-10-13T14:21:17.925" v="399" actId="1076"/>
          <ac:picMkLst>
            <pc:docMk/>
            <pc:sldMk cId="3606498534" sldId="1157"/>
            <ac:picMk id="2050" creationId="{926FDD19-319A-403E-8217-1C59089E2D35}"/>
          </ac:picMkLst>
        </pc:picChg>
        <pc:picChg chg="add mod">
          <ac:chgData name="HALISDEMIR, Ufuk" userId="569d8f73-9a2b-46ed-81f6-ad4d857e353e" providerId="ADAL" clId="{30D53801-0F48-40E0-8B10-CA3462C3EED0}" dt="2022-10-13T14:21:23.316" v="402" actId="1076"/>
          <ac:picMkLst>
            <pc:docMk/>
            <pc:sldMk cId="3606498534" sldId="1157"/>
            <ac:picMk id="2052" creationId="{EE63FA4A-9082-481D-9A5B-30568688E68F}"/>
          </ac:picMkLst>
        </pc:picChg>
        <pc:picChg chg="add mod">
          <ac:chgData name="HALISDEMIR, Ufuk" userId="569d8f73-9a2b-46ed-81f6-ad4d857e353e" providerId="ADAL" clId="{30D53801-0F48-40E0-8B10-CA3462C3EED0}" dt="2022-10-13T14:21:21.815" v="401" actId="1076"/>
          <ac:picMkLst>
            <pc:docMk/>
            <pc:sldMk cId="3606498534" sldId="1157"/>
            <ac:picMk id="2054" creationId="{7BD44B5B-3BBD-4008-9C28-7F6F32783FFB}"/>
          </ac:picMkLst>
        </pc:picChg>
        <pc:picChg chg="add mod">
          <ac:chgData name="HALISDEMIR, Ufuk" userId="569d8f73-9a2b-46ed-81f6-ad4d857e353e" providerId="ADAL" clId="{30D53801-0F48-40E0-8B10-CA3462C3EED0}" dt="2022-10-13T14:21:04.177" v="395" actId="1076"/>
          <ac:picMkLst>
            <pc:docMk/>
            <pc:sldMk cId="3606498534" sldId="1157"/>
            <ac:picMk id="2056" creationId="{311E85EA-3854-4BCB-9651-9656C75EFD5A}"/>
          </ac:picMkLst>
        </pc:picChg>
      </pc:sldChg>
      <pc:sldChg chg="addSp delSp modSp add mod ord modTransition">
        <pc:chgData name="HALISDEMIR, Ufuk" userId="569d8f73-9a2b-46ed-81f6-ad4d857e353e" providerId="ADAL" clId="{30D53801-0F48-40E0-8B10-CA3462C3EED0}" dt="2022-10-14T14:18:48.478" v="2672"/>
        <pc:sldMkLst>
          <pc:docMk/>
          <pc:sldMk cId="1013490233" sldId="1158"/>
        </pc:sldMkLst>
        <pc:spChg chg="mod">
          <ac:chgData name="HALISDEMIR, Ufuk" userId="569d8f73-9a2b-46ed-81f6-ad4d857e353e" providerId="ADAL" clId="{30D53801-0F48-40E0-8B10-CA3462C3EED0}" dt="2022-10-13T14:48:10.056" v="1344"/>
          <ac:spMkLst>
            <pc:docMk/>
            <pc:sldMk cId="1013490233" sldId="1158"/>
            <ac:spMk id="3" creationId="{4A04CCCB-5A93-4316-BDC5-F8EB102EEE3F}"/>
          </ac:spMkLst>
        </pc:spChg>
        <pc:spChg chg="add del mod">
          <ac:chgData name="HALISDEMIR, Ufuk" userId="569d8f73-9a2b-46ed-81f6-ad4d857e353e" providerId="ADAL" clId="{30D53801-0F48-40E0-8B10-CA3462C3EED0}" dt="2022-10-13T14:25:54.085" v="594" actId="478"/>
          <ac:spMkLst>
            <pc:docMk/>
            <pc:sldMk cId="1013490233" sldId="1158"/>
            <ac:spMk id="4" creationId="{FB0E3C34-8580-4D14-A695-F1C0DEA4C28A}"/>
          </ac:spMkLst>
        </pc:spChg>
        <pc:spChg chg="mod">
          <ac:chgData name="HALISDEMIR, Ufuk" userId="569d8f73-9a2b-46ed-81f6-ad4d857e353e" providerId="ADAL" clId="{30D53801-0F48-40E0-8B10-CA3462C3EED0}" dt="2022-10-13T14:28:41.234" v="672" actId="20577"/>
          <ac:spMkLst>
            <pc:docMk/>
            <pc:sldMk cId="1013490233" sldId="1158"/>
            <ac:spMk id="5" creationId="{93799071-C668-45D0-BA0C-7D3510B005A2}"/>
          </ac:spMkLst>
        </pc:spChg>
        <pc:spChg chg="del">
          <ac:chgData name="HALISDEMIR, Ufuk" userId="569d8f73-9a2b-46ed-81f6-ad4d857e353e" providerId="ADAL" clId="{30D53801-0F48-40E0-8B10-CA3462C3EED0}" dt="2022-10-13T14:22:31.003" v="404" actId="478"/>
          <ac:spMkLst>
            <pc:docMk/>
            <pc:sldMk cId="1013490233" sldId="1158"/>
            <ac:spMk id="6" creationId="{BB6B486D-B0AD-4F3A-912E-712FA487953E}"/>
          </ac:spMkLst>
        </pc:spChg>
        <pc:spChg chg="add mod">
          <ac:chgData name="HALISDEMIR, Ufuk" userId="569d8f73-9a2b-46ed-81f6-ad4d857e353e" providerId="ADAL" clId="{30D53801-0F48-40E0-8B10-CA3462C3EED0}" dt="2022-10-13T14:33:06.992" v="986" actId="1076"/>
          <ac:spMkLst>
            <pc:docMk/>
            <pc:sldMk cId="1013490233" sldId="1158"/>
            <ac:spMk id="16" creationId="{34BA67E8-9651-4911-A605-816793D15337}"/>
          </ac:spMkLst>
        </pc:spChg>
        <pc:picChg chg="add mod">
          <ac:chgData name="HALISDEMIR, Ufuk" userId="569d8f73-9a2b-46ed-81f6-ad4d857e353e" providerId="ADAL" clId="{30D53801-0F48-40E0-8B10-CA3462C3EED0}" dt="2022-10-14T14:18:48.478" v="2672"/>
          <ac:picMkLst>
            <pc:docMk/>
            <pc:sldMk cId="1013490233" sldId="1158"/>
            <ac:picMk id="4" creationId="{14F35BDE-A50E-427D-B063-8B148F8E361A}"/>
          </ac:picMkLst>
        </pc:picChg>
        <pc:picChg chg="add del mod">
          <ac:chgData name="HALISDEMIR, Ufuk" userId="569d8f73-9a2b-46ed-81f6-ad4d857e353e" providerId="ADAL" clId="{30D53801-0F48-40E0-8B10-CA3462C3EED0}" dt="2022-10-13T14:28:12.373" v="598" actId="478"/>
          <ac:picMkLst>
            <pc:docMk/>
            <pc:sldMk cId="1013490233" sldId="1158"/>
            <ac:picMk id="14" creationId="{959F5725-8360-4DFB-A398-B692C83C94B5}"/>
          </ac:picMkLst>
        </pc:picChg>
        <pc:picChg chg="del mod">
          <ac:chgData name="HALISDEMIR, Ufuk" userId="569d8f73-9a2b-46ed-81f6-ad4d857e353e" providerId="ADAL" clId="{30D53801-0F48-40E0-8B10-CA3462C3EED0}" dt="2022-10-13T14:28:12.373" v="598" actId="478"/>
          <ac:picMkLst>
            <pc:docMk/>
            <pc:sldMk cId="1013490233" sldId="1158"/>
            <ac:picMk id="2050" creationId="{926FDD19-319A-403E-8217-1C59089E2D35}"/>
          </ac:picMkLst>
        </pc:picChg>
        <pc:picChg chg="del">
          <ac:chgData name="HALISDEMIR, Ufuk" userId="569d8f73-9a2b-46ed-81f6-ad4d857e353e" providerId="ADAL" clId="{30D53801-0F48-40E0-8B10-CA3462C3EED0}" dt="2022-10-13T14:22:31.003" v="404" actId="478"/>
          <ac:picMkLst>
            <pc:docMk/>
            <pc:sldMk cId="1013490233" sldId="1158"/>
            <ac:picMk id="2052" creationId="{EE63FA4A-9082-481D-9A5B-30568688E68F}"/>
          </ac:picMkLst>
        </pc:picChg>
        <pc:picChg chg="del">
          <ac:chgData name="HALISDEMIR, Ufuk" userId="569d8f73-9a2b-46ed-81f6-ad4d857e353e" providerId="ADAL" clId="{30D53801-0F48-40E0-8B10-CA3462C3EED0}" dt="2022-10-13T14:22:31.003" v="404" actId="478"/>
          <ac:picMkLst>
            <pc:docMk/>
            <pc:sldMk cId="1013490233" sldId="1158"/>
            <ac:picMk id="2054" creationId="{7BD44B5B-3BBD-4008-9C28-7F6F32783FFB}"/>
          </ac:picMkLst>
        </pc:picChg>
        <pc:picChg chg="del">
          <ac:chgData name="HALISDEMIR, Ufuk" userId="569d8f73-9a2b-46ed-81f6-ad4d857e353e" providerId="ADAL" clId="{30D53801-0F48-40E0-8B10-CA3462C3EED0}" dt="2022-10-13T14:22:31.003" v="404" actId="478"/>
          <ac:picMkLst>
            <pc:docMk/>
            <pc:sldMk cId="1013490233" sldId="1158"/>
            <ac:picMk id="2056" creationId="{311E85EA-3854-4BCB-9651-9656C75EFD5A}"/>
          </ac:picMkLst>
        </pc:picChg>
        <pc:picChg chg="add del mod">
          <ac:chgData name="HALISDEMIR, Ufuk" userId="569d8f73-9a2b-46ed-81f6-ad4d857e353e" providerId="ADAL" clId="{30D53801-0F48-40E0-8B10-CA3462C3EED0}" dt="2022-10-13T14:25:54.085" v="594" actId="478"/>
          <ac:picMkLst>
            <pc:docMk/>
            <pc:sldMk cId="1013490233" sldId="1158"/>
            <ac:picMk id="3074" creationId="{3BD55E98-8D87-443F-A29A-6A78E5B5E890}"/>
          </ac:picMkLst>
        </pc:picChg>
        <pc:picChg chg="add del mod">
          <ac:chgData name="HALISDEMIR, Ufuk" userId="569d8f73-9a2b-46ed-81f6-ad4d857e353e" providerId="ADAL" clId="{30D53801-0F48-40E0-8B10-CA3462C3EED0}" dt="2022-10-13T14:25:54.085" v="594" actId="478"/>
          <ac:picMkLst>
            <pc:docMk/>
            <pc:sldMk cId="1013490233" sldId="1158"/>
            <ac:picMk id="3075" creationId="{88B75247-488C-4BAE-B900-98EFF8261A78}"/>
          </ac:picMkLst>
        </pc:picChg>
        <pc:picChg chg="add del mod">
          <ac:chgData name="HALISDEMIR, Ufuk" userId="569d8f73-9a2b-46ed-81f6-ad4d857e353e" providerId="ADAL" clId="{30D53801-0F48-40E0-8B10-CA3462C3EED0}" dt="2022-10-13T14:25:54.085" v="594" actId="478"/>
          <ac:picMkLst>
            <pc:docMk/>
            <pc:sldMk cId="1013490233" sldId="1158"/>
            <ac:picMk id="3076" creationId="{F534E8DA-E441-4A1B-9851-8684668B784C}"/>
          </ac:picMkLst>
        </pc:picChg>
        <pc:picChg chg="add mod">
          <ac:chgData name="HALISDEMIR, Ufuk" userId="569d8f73-9a2b-46ed-81f6-ad4d857e353e" providerId="ADAL" clId="{30D53801-0F48-40E0-8B10-CA3462C3EED0}" dt="2022-10-13T14:29:06.464" v="677" actId="1076"/>
          <ac:picMkLst>
            <pc:docMk/>
            <pc:sldMk cId="1013490233" sldId="1158"/>
            <ac:picMk id="3078" creationId="{5666111F-97CF-40C8-A109-782F30F0203C}"/>
          </ac:picMkLst>
        </pc:picChg>
      </pc:sldChg>
      <pc:sldChg chg="addSp modSp add mod modTransition">
        <pc:chgData name="HALISDEMIR, Ufuk" userId="569d8f73-9a2b-46ed-81f6-ad4d857e353e" providerId="ADAL" clId="{30D53801-0F48-40E0-8B10-CA3462C3EED0}" dt="2022-10-14T14:18:48.478" v="2672"/>
        <pc:sldMkLst>
          <pc:docMk/>
          <pc:sldMk cId="3963467821" sldId="1159"/>
        </pc:sldMkLst>
        <pc:spChg chg="mod">
          <ac:chgData name="HALISDEMIR, Ufuk" userId="569d8f73-9a2b-46ed-81f6-ad4d857e353e" providerId="ADAL" clId="{30D53801-0F48-40E0-8B10-CA3462C3EED0}" dt="2022-10-13T14:47:57.581" v="1343"/>
          <ac:spMkLst>
            <pc:docMk/>
            <pc:sldMk cId="3963467821" sldId="1159"/>
            <ac:spMk id="3" creationId="{4A04CCCB-5A93-4316-BDC5-F8EB102EEE3F}"/>
          </ac:spMkLst>
        </pc:spChg>
        <pc:picChg chg="add mod">
          <ac:chgData name="HALISDEMIR, Ufuk" userId="569d8f73-9a2b-46ed-81f6-ad4d857e353e" providerId="ADAL" clId="{30D53801-0F48-40E0-8B10-CA3462C3EED0}" dt="2022-10-14T14:18:48.478" v="2672"/>
          <ac:picMkLst>
            <pc:docMk/>
            <pc:sldMk cId="3963467821" sldId="1159"/>
            <ac:picMk id="6" creationId="{6D56D2DE-D1D6-488D-ACB0-B5A3ACD5AB7D}"/>
          </ac:picMkLst>
        </pc:picChg>
      </pc:sldChg>
      <pc:sldChg chg="addSp delSp modSp add mod modTransition modAnim">
        <pc:chgData name="HALISDEMIR, Ufuk" userId="569d8f73-9a2b-46ed-81f6-ad4d857e353e" providerId="ADAL" clId="{30D53801-0F48-40E0-8B10-CA3462C3EED0}" dt="2022-10-14T14:19:38.761" v="2674"/>
        <pc:sldMkLst>
          <pc:docMk/>
          <pc:sldMk cId="2009102477" sldId="1160"/>
        </pc:sldMkLst>
        <pc:spChg chg="mod">
          <ac:chgData name="HALISDEMIR, Ufuk" userId="569d8f73-9a2b-46ed-81f6-ad4d857e353e" providerId="ADAL" clId="{30D53801-0F48-40E0-8B10-CA3462C3EED0}" dt="2022-10-13T14:48:42.968" v="1374" actId="790"/>
          <ac:spMkLst>
            <pc:docMk/>
            <pc:sldMk cId="2009102477" sldId="1160"/>
            <ac:spMk id="3" creationId="{4A04CCCB-5A93-4316-BDC5-F8EB102EEE3F}"/>
          </ac:spMkLst>
        </pc:spChg>
        <pc:spChg chg="mod">
          <ac:chgData name="HALISDEMIR, Ufuk" userId="569d8f73-9a2b-46ed-81f6-ad4d857e353e" providerId="ADAL" clId="{30D53801-0F48-40E0-8B10-CA3462C3EED0}" dt="2022-10-13T14:33:36.253" v="1004" actId="20577"/>
          <ac:spMkLst>
            <pc:docMk/>
            <pc:sldMk cId="2009102477" sldId="1160"/>
            <ac:spMk id="5" creationId="{93799071-C668-45D0-BA0C-7D3510B005A2}"/>
          </ac:spMkLst>
        </pc:spChg>
        <pc:spChg chg="add mod">
          <ac:chgData name="HALISDEMIR, Ufuk" userId="569d8f73-9a2b-46ed-81f6-ad4d857e353e" providerId="ADAL" clId="{30D53801-0F48-40E0-8B10-CA3462C3EED0}" dt="2022-10-13T15:11:04.128" v="1933" actId="20577"/>
          <ac:spMkLst>
            <pc:docMk/>
            <pc:sldMk cId="2009102477" sldId="1160"/>
            <ac:spMk id="8" creationId="{A7AE3173-3AC9-43E9-BB97-BAA978DA0E2B}"/>
          </ac:spMkLst>
        </pc:spChg>
        <pc:spChg chg="del">
          <ac:chgData name="HALISDEMIR, Ufuk" userId="569d8f73-9a2b-46ed-81f6-ad4d857e353e" providerId="ADAL" clId="{30D53801-0F48-40E0-8B10-CA3462C3EED0}" dt="2022-10-13T14:33:39.053" v="1005" actId="478"/>
          <ac:spMkLst>
            <pc:docMk/>
            <pc:sldMk cId="2009102477" sldId="1160"/>
            <ac:spMk id="16" creationId="{34BA67E8-9651-4911-A605-816793D15337}"/>
          </ac:spMkLst>
        </pc:spChg>
        <pc:picChg chg="add del mod">
          <ac:chgData name="HALISDEMIR, Ufuk" userId="569d8f73-9a2b-46ed-81f6-ad4d857e353e" providerId="ADAL" clId="{30D53801-0F48-40E0-8B10-CA3462C3EED0}" dt="2022-10-14T14:19:05.544" v="2673"/>
          <ac:picMkLst>
            <pc:docMk/>
            <pc:sldMk cId="2009102477" sldId="1160"/>
            <ac:picMk id="4" creationId="{6D7DDA13-3E86-46A8-B613-86C280FEFBB1}"/>
          </ac:picMkLst>
        </pc:picChg>
        <pc:picChg chg="add mod">
          <ac:chgData name="HALISDEMIR, Ufuk" userId="569d8f73-9a2b-46ed-81f6-ad4d857e353e" providerId="ADAL" clId="{30D53801-0F48-40E0-8B10-CA3462C3EED0}" dt="2022-10-14T14:19:38.761" v="2674"/>
          <ac:picMkLst>
            <pc:docMk/>
            <pc:sldMk cId="2009102477" sldId="1160"/>
            <ac:picMk id="6" creationId="{5F1D15C1-6C83-4B46-80CC-3538CF89302B}"/>
          </ac:picMkLst>
        </pc:picChg>
        <pc:picChg chg="add mod modCrop">
          <ac:chgData name="HALISDEMIR, Ufuk" userId="569d8f73-9a2b-46ed-81f6-ad4d857e353e" providerId="ADAL" clId="{30D53801-0F48-40E0-8B10-CA3462C3EED0}" dt="2022-10-13T14:34:55.789" v="1022" actId="1076"/>
          <ac:picMkLst>
            <pc:docMk/>
            <pc:sldMk cId="2009102477" sldId="1160"/>
            <ac:picMk id="7" creationId="{68259473-C8F8-4D60-A0F9-A1B0B0E14D0E}"/>
          </ac:picMkLst>
        </pc:picChg>
        <pc:picChg chg="del">
          <ac:chgData name="HALISDEMIR, Ufuk" userId="569d8f73-9a2b-46ed-81f6-ad4d857e353e" providerId="ADAL" clId="{30D53801-0F48-40E0-8B10-CA3462C3EED0}" dt="2022-10-13T14:33:39.053" v="1005" actId="478"/>
          <ac:picMkLst>
            <pc:docMk/>
            <pc:sldMk cId="2009102477" sldId="1160"/>
            <ac:picMk id="3078" creationId="{5666111F-97CF-40C8-A109-782F30F0203C}"/>
          </ac:picMkLst>
        </pc:picChg>
      </pc:sldChg>
      <pc:sldChg chg="addSp delSp modSp add del mod ord">
        <pc:chgData name="HALISDEMIR, Ufuk" userId="569d8f73-9a2b-46ed-81f6-ad4d857e353e" providerId="ADAL" clId="{30D53801-0F48-40E0-8B10-CA3462C3EED0}" dt="2022-10-13T15:25:55.242" v="2664" actId="47"/>
        <pc:sldMkLst>
          <pc:docMk/>
          <pc:sldMk cId="450538092" sldId="1161"/>
        </pc:sldMkLst>
        <pc:spChg chg="add mod">
          <ac:chgData name="HALISDEMIR, Ufuk" userId="569d8f73-9a2b-46ed-81f6-ad4d857e353e" providerId="ADAL" clId="{30D53801-0F48-40E0-8B10-CA3462C3EED0}" dt="2022-10-13T14:43:04.927" v="1253" actId="1076"/>
          <ac:spMkLst>
            <pc:docMk/>
            <pc:sldMk cId="450538092" sldId="1161"/>
            <ac:spMk id="4" creationId="{9E52D6BF-222A-4059-B2D6-8C918B2B3C12}"/>
          </ac:spMkLst>
        </pc:spChg>
        <pc:spChg chg="mod">
          <ac:chgData name="HALISDEMIR, Ufuk" userId="569d8f73-9a2b-46ed-81f6-ad4d857e353e" providerId="ADAL" clId="{30D53801-0F48-40E0-8B10-CA3462C3EED0}" dt="2022-10-13T14:41:23.810" v="1177" actId="20577"/>
          <ac:spMkLst>
            <pc:docMk/>
            <pc:sldMk cId="450538092" sldId="1161"/>
            <ac:spMk id="5" creationId="{93799071-C668-45D0-BA0C-7D3510B005A2}"/>
          </ac:spMkLst>
        </pc:spChg>
        <pc:spChg chg="del">
          <ac:chgData name="HALISDEMIR, Ufuk" userId="569d8f73-9a2b-46ed-81f6-ad4d857e353e" providerId="ADAL" clId="{30D53801-0F48-40E0-8B10-CA3462C3EED0}" dt="2022-10-13T14:36:37.262" v="1106" actId="478"/>
          <ac:spMkLst>
            <pc:docMk/>
            <pc:sldMk cId="450538092" sldId="1161"/>
            <ac:spMk id="8" creationId="{A7AE3173-3AC9-43E9-BB97-BAA978DA0E2B}"/>
          </ac:spMkLst>
        </pc:spChg>
        <pc:spChg chg="add mod">
          <ac:chgData name="HALISDEMIR, Ufuk" userId="569d8f73-9a2b-46ed-81f6-ad4d857e353e" providerId="ADAL" clId="{30D53801-0F48-40E0-8B10-CA3462C3EED0}" dt="2022-10-13T14:43:04.927" v="1253" actId="1076"/>
          <ac:spMkLst>
            <pc:docMk/>
            <pc:sldMk cId="450538092" sldId="1161"/>
            <ac:spMk id="9" creationId="{1FBE94A8-1597-4AA9-8C42-9CDC5251F43C}"/>
          </ac:spMkLst>
        </pc:spChg>
        <pc:spChg chg="add mod">
          <ac:chgData name="HALISDEMIR, Ufuk" userId="569d8f73-9a2b-46ed-81f6-ad4d857e353e" providerId="ADAL" clId="{30D53801-0F48-40E0-8B10-CA3462C3EED0}" dt="2022-10-13T14:43:04.927" v="1253" actId="1076"/>
          <ac:spMkLst>
            <pc:docMk/>
            <pc:sldMk cId="450538092" sldId="1161"/>
            <ac:spMk id="10" creationId="{0B810B94-B264-41A4-851B-D0A583FEA81F}"/>
          </ac:spMkLst>
        </pc:spChg>
        <pc:spChg chg="add mod">
          <ac:chgData name="HALISDEMIR, Ufuk" userId="569d8f73-9a2b-46ed-81f6-ad4d857e353e" providerId="ADAL" clId="{30D53801-0F48-40E0-8B10-CA3462C3EED0}" dt="2022-10-13T14:43:04.927" v="1253" actId="1076"/>
          <ac:spMkLst>
            <pc:docMk/>
            <pc:sldMk cId="450538092" sldId="1161"/>
            <ac:spMk id="11" creationId="{9CD95462-4700-446F-8C43-D18EAA1E8FB8}"/>
          </ac:spMkLst>
        </pc:spChg>
        <pc:spChg chg="add mod">
          <ac:chgData name="HALISDEMIR, Ufuk" userId="569d8f73-9a2b-46ed-81f6-ad4d857e353e" providerId="ADAL" clId="{30D53801-0F48-40E0-8B10-CA3462C3EED0}" dt="2022-10-13T14:43:04.927" v="1253" actId="1076"/>
          <ac:spMkLst>
            <pc:docMk/>
            <pc:sldMk cId="450538092" sldId="1161"/>
            <ac:spMk id="21" creationId="{9E8B9119-554D-44DC-8BE7-1D17020B0C65}"/>
          </ac:spMkLst>
        </pc:spChg>
        <pc:grpChg chg="add mod">
          <ac:chgData name="HALISDEMIR, Ufuk" userId="569d8f73-9a2b-46ed-81f6-ad4d857e353e" providerId="ADAL" clId="{30D53801-0F48-40E0-8B10-CA3462C3EED0}" dt="2022-10-13T14:43:04.927" v="1253" actId="1076"/>
          <ac:grpSpMkLst>
            <pc:docMk/>
            <pc:sldMk cId="450538092" sldId="1161"/>
            <ac:grpSpMk id="19" creationId="{4FCBA9EB-10D4-4208-AA91-82D867CF2A15}"/>
          </ac:grpSpMkLst>
        </pc:grpChg>
        <pc:picChg chg="del">
          <ac:chgData name="HALISDEMIR, Ufuk" userId="569d8f73-9a2b-46ed-81f6-ad4d857e353e" providerId="ADAL" clId="{30D53801-0F48-40E0-8B10-CA3462C3EED0}" dt="2022-10-13T14:36:37.262" v="1106" actId="478"/>
          <ac:picMkLst>
            <pc:docMk/>
            <pc:sldMk cId="450538092" sldId="1161"/>
            <ac:picMk id="7" creationId="{68259473-C8F8-4D60-A0F9-A1B0B0E14D0E}"/>
          </ac:picMkLst>
        </pc:picChg>
        <pc:picChg chg="add mod">
          <ac:chgData name="HALISDEMIR, Ufuk" userId="569d8f73-9a2b-46ed-81f6-ad4d857e353e" providerId="ADAL" clId="{30D53801-0F48-40E0-8B10-CA3462C3EED0}" dt="2022-10-13T14:43:04.927" v="1253" actId="1076"/>
          <ac:picMkLst>
            <pc:docMk/>
            <pc:sldMk cId="450538092" sldId="1161"/>
            <ac:picMk id="4098" creationId="{7890EC67-BE64-4E46-BA30-C43870FC3AD0}"/>
          </ac:picMkLst>
        </pc:picChg>
        <pc:cxnChg chg="add del mod">
          <ac:chgData name="HALISDEMIR, Ufuk" userId="569d8f73-9a2b-46ed-81f6-ad4d857e353e" providerId="ADAL" clId="{30D53801-0F48-40E0-8B10-CA3462C3EED0}" dt="2022-10-13T14:38:17.014" v="1126" actId="11529"/>
          <ac:cxnSpMkLst>
            <pc:docMk/>
            <pc:sldMk cId="450538092" sldId="1161"/>
            <ac:cxnSpMk id="12" creationId="{AAFA30AE-6CE2-44B8-9040-AB75BC1CA1E7}"/>
          </ac:cxnSpMkLst>
        </pc:cxnChg>
        <pc:cxnChg chg="add mod">
          <ac:chgData name="HALISDEMIR, Ufuk" userId="569d8f73-9a2b-46ed-81f6-ad4d857e353e" providerId="ADAL" clId="{30D53801-0F48-40E0-8B10-CA3462C3EED0}" dt="2022-10-13T14:43:04.927" v="1253" actId="1076"/>
          <ac:cxnSpMkLst>
            <pc:docMk/>
            <pc:sldMk cId="450538092" sldId="1161"/>
            <ac:cxnSpMk id="14" creationId="{760D878D-1664-46A6-9550-4C310CE93B98}"/>
          </ac:cxnSpMkLst>
        </pc:cxnChg>
        <pc:cxnChg chg="add mod">
          <ac:chgData name="HALISDEMIR, Ufuk" userId="569d8f73-9a2b-46ed-81f6-ad4d857e353e" providerId="ADAL" clId="{30D53801-0F48-40E0-8B10-CA3462C3EED0}" dt="2022-10-13T14:43:04.927" v="1253" actId="1076"/>
          <ac:cxnSpMkLst>
            <pc:docMk/>
            <pc:sldMk cId="450538092" sldId="1161"/>
            <ac:cxnSpMk id="16" creationId="{F394A333-2905-43A5-AFB6-0A930B7EF49D}"/>
          </ac:cxnSpMkLst>
        </pc:cxnChg>
        <pc:cxnChg chg="add mod">
          <ac:chgData name="HALISDEMIR, Ufuk" userId="569d8f73-9a2b-46ed-81f6-ad4d857e353e" providerId="ADAL" clId="{30D53801-0F48-40E0-8B10-CA3462C3EED0}" dt="2022-10-13T14:43:04.927" v="1253" actId="1076"/>
          <ac:cxnSpMkLst>
            <pc:docMk/>
            <pc:sldMk cId="450538092" sldId="1161"/>
            <ac:cxnSpMk id="18" creationId="{A798277E-3928-4DE2-B8C9-D0D241C7DC9F}"/>
          </ac:cxnSpMkLst>
        </pc:cxnChg>
      </pc:sldChg>
      <pc:sldChg chg="addSp delSp modSp add mod modTransition modAnim">
        <pc:chgData name="HALISDEMIR, Ufuk" userId="569d8f73-9a2b-46ed-81f6-ad4d857e353e" providerId="ADAL" clId="{30D53801-0F48-40E0-8B10-CA3462C3EED0}" dt="2022-10-14T14:24:46.975" v="2679"/>
        <pc:sldMkLst>
          <pc:docMk/>
          <pc:sldMk cId="3163402756" sldId="1162"/>
        </pc:sldMkLst>
        <pc:spChg chg="mod">
          <ac:chgData name="HALISDEMIR, Ufuk" userId="569d8f73-9a2b-46ed-81f6-ad4d857e353e" providerId="ADAL" clId="{30D53801-0F48-40E0-8B10-CA3462C3EED0}" dt="2022-10-13T14:44:03.857" v="1255"/>
          <ac:spMkLst>
            <pc:docMk/>
            <pc:sldMk cId="3163402756" sldId="1162"/>
            <ac:spMk id="5" creationId="{93799071-C668-45D0-BA0C-7D3510B005A2}"/>
          </ac:spMkLst>
        </pc:spChg>
        <pc:spChg chg="add mod">
          <ac:chgData name="HALISDEMIR, Ufuk" userId="569d8f73-9a2b-46ed-81f6-ad4d857e353e" providerId="ADAL" clId="{30D53801-0F48-40E0-8B10-CA3462C3EED0}" dt="2022-10-13T14:45:55.629" v="1296" actId="404"/>
          <ac:spMkLst>
            <pc:docMk/>
            <pc:sldMk cId="3163402756" sldId="1162"/>
            <ac:spMk id="7" creationId="{9F22DA1B-DCD5-49EE-9C9A-271BABBC018A}"/>
          </ac:spMkLst>
        </pc:spChg>
        <pc:spChg chg="add mod">
          <ac:chgData name="HALISDEMIR, Ufuk" userId="569d8f73-9a2b-46ed-81f6-ad4d857e353e" providerId="ADAL" clId="{30D53801-0F48-40E0-8B10-CA3462C3EED0}" dt="2022-10-13T14:44:31.835" v="1274" actId="1076"/>
          <ac:spMkLst>
            <pc:docMk/>
            <pc:sldMk cId="3163402756" sldId="1162"/>
            <ac:spMk id="17" creationId="{66E12C97-39A4-460C-B681-0C512C23949F}"/>
          </ac:spMkLst>
        </pc:spChg>
        <pc:spChg chg="add mod">
          <ac:chgData name="HALISDEMIR, Ufuk" userId="569d8f73-9a2b-46ed-81f6-ad4d857e353e" providerId="ADAL" clId="{30D53801-0F48-40E0-8B10-CA3462C3EED0}" dt="2022-10-13T14:44:31.835" v="1274" actId="1076"/>
          <ac:spMkLst>
            <pc:docMk/>
            <pc:sldMk cId="3163402756" sldId="1162"/>
            <ac:spMk id="20" creationId="{F85BC56E-1E7D-4108-8A4C-E31A2B43E75C}"/>
          </ac:spMkLst>
        </pc:spChg>
        <pc:spChg chg="del">
          <ac:chgData name="HALISDEMIR, Ufuk" userId="569d8f73-9a2b-46ed-81f6-ad4d857e353e" providerId="ADAL" clId="{30D53801-0F48-40E0-8B10-CA3462C3EED0}" dt="2022-10-13T14:44:08.008" v="1256" actId="478"/>
          <ac:spMkLst>
            <pc:docMk/>
            <pc:sldMk cId="3163402756" sldId="1162"/>
            <ac:spMk id="21" creationId="{9E8B9119-554D-44DC-8BE7-1D17020B0C65}"/>
          </ac:spMkLst>
        </pc:spChg>
        <pc:spChg chg="add mod">
          <ac:chgData name="HALISDEMIR, Ufuk" userId="569d8f73-9a2b-46ed-81f6-ad4d857e353e" providerId="ADAL" clId="{30D53801-0F48-40E0-8B10-CA3462C3EED0}" dt="2022-10-13T14:46:18.347" v="1315" actId="20577"/>
          <ac:spMkLst>
            <pc:docMk/>
            <pc:sldMk cId="3163402756" sldId="1162"/>
            <ac:spMk id="23" creationId="{F598A707-BC61-4BE5-A602-16B3231306E4}"/>
          </ac:spMkLst>
        </pc:spChg>
        <pc:grpChg chg="del">
          <ac:chgData name="HALISDEMIR, Ufuk" userId="569d8f73-9a2b-46ed-81f6-ad4d857e353e" providerId="ADAL" clId="{30D53801-0F48-40E0-8B10-CA3462C3EED0}" dt="2022-10-13T14:44:08.008" v="1256" actId="478"/>
          <ac:grpSpMkLst>
            <pc:docMk/>
            <pc:sldMk cId="3163402756" sldId="1162"/>
            <ac:grpSpMk id="19" creationId="{4FCBA9EB-10D4-4208-AA91-82D867CF2A15}"/>
          </ac:grpSpMkLst>
        </pc:grpChg>
        <pc:picChg chg="add del mod">
          <ac:chgData name="HALISDEMIR, Ufuk" userId="569d8f73-9a2b-46ed-81f6-ad4d857e353e" providerId="ADAL" clId="{30D53801-0F48-40E0-8B10-CA3462C3EED0}" dt="2022-10-14T14:23:51.684" v="2676"/>
          <ac:picMkLst>
            <pc:docMk/>
            <pc:sldMk cId="3163402756" sldId="1162"/>
            <ac:picMk id="4" creationId="{F5165D68-261B-4D20-8BA3-D9B9855A4AB8}"/>
          </ac:picMkLst>
        </pc:picChg>
        <pc:picChg chg="add del mod">
          <ac:chgData name="HALISDEMIR, Ufuk" userId="569d8f73-9a2b-46ed-81f6-ad4d857e353e" providerId="ADAL" clId="{30D53801-0F48-40E0-8B10-CA3462C3EED0}" dt="2022-10-14T14:24:22.836" v="2678"/>
          <ac:picMkLst>
            <pc:docMk/>
            <pc:sldMk cId="3163402756" sldId="1162"/>
            <ac:picMk id="6" creationId="{40C52646-F030-47D9-B587-EF18AAA74C8C}"/>
          </ac:picMkLst>
        </pc:picChg>
        <pc:picChg chg="add mod">
          <ac:chgData name="HALISDEMIR, Ufuk" userId="569d8f73-9a2b-46ed-81f6-ad4d857e353e" providerId="ADAL" clId="{30D53801-0F48-40E0-8B10-CA3462C3EED0}" dt="2022-10-14T14:24:46.975" v="2679"/>
          <ac:picMkLst>
            <pc:docMk/>
            <pc:sldMk cId="3163402756" sldId="1162"/>
            <ac:picMk id="8" creationId="{FB93A30C-3722-44F0-8E23-7A47A6CD67DF}"/>
          </ac:picMkLst>
        </pc:picChg>
        <pc:picChg chg="add mod modCrop">
          <ac:chgData name="HALISDEMIR, Ufuk" userId="569d8f73-9a2b-46ed-81f6-ad4d857e353e" providerId="ADAL" clId="{30D53801-0F48-40E0-8B10-CA3462C3EED0}" dt="2022-10-13T14:45:43.408" v="1279" actId="1076"/>
          <ac:picMkLst>
            <pc:docMk/>
            <pc:sldMk cId="3163402756" sldId="1162"/>
            <ac:picMk id="22" creationId="{C6980ABB-8075-468E-A0A4-AA30DA2209A2}"/>
          </ac:picMkLst>
        </pc:picChg>
        <pc:picChg chg="add mod">
          <ac:chgData name="HALISDEMIR, Ufuk" userId="569d8f73-9a2b-46ed-81f6-ad4d857e353e" providerId="ADAL" clId="{30D53801-0F48-40E0-8B10-CA3462C3EED0}" dt="2022-10-13T14:46:57.435" v="1325" actId="1076"/>
          <ac:picMkLst>
            <pc:docMk/>
            <pc:sldMk cId="3163402756" sldId="1162"/>
            <ac:picMk id="24" creationId="{3B3D716B-FD8F-4778-94FF-F0B5E40EA34F}"/>
          </ac:picMkLst>
        </pc:picChg>
        <pc:picChg chg="add mod">
          <ac:chgData name="HALISDEMIR, Ufuk" userId="569d8f73-9a2b-46ed-81f6-ad4d857e353e" providerId="ADAL" clId="{30D53801-0F48-40E0-8B10-CA3462C3EED0}" dt="2022-10-13T14:46:54.227" v="1324" actId="1076"/>
          <ac:picMkLst>
            <pc:docMk/>
            <pc:sldMk cId="3163402756" sldId="1162"/>
            <ac:picMk id="25" creationId="{88835D57-77B5-4692-A69A-2334A307598F}"/>
          </ac:picMkLst>
        </pc:picChg>
      </pc:sldChg>
      <pc:sldChg chg="addSp delSp modSp add mod modTransition">
        <pc:chgData name="HALISDEMIR, Ufuk" userId="569d8f73-9a2b-46ed-81f6-ad4d857e353e" providerId="ADAL" clId="{30D53801-0F48-40E0-8B10-CA3462C3EED0}" dt="2022-10-14T14:27:42.509" v="2681"/>
        <pc:sldMkLst>
          <pc:docMk/>
          <pc:sldMk cId="2835993066" sldId="1163"/>
        </pc:sldMkLst>
        <pc:spChg chg="mod">
          <ac:chgData name="HALISDEMIR, Ufuk" userId="569d8f73-9a2b-46ed-81f6-ad4d857e353e" providerId="ADAL" clId="{30D53801-0F48-40E0-8B10-CA3462C3EED0}" dt="2022-10-13T15:13:28.533" v="1953" actId="20577"/>
          <ac:spMkLst>
            <pc:docMk/>
            <pc:sldMk cId="2835993066" sldId="1163"/>
            <ac:spMk id="3" creationId="{4A04CCCB-5A93-4316-BDC5-F8EB102EEE3F}"/>
          </ac:spMkLst>
        </pc:spChg>
        <pc:spChg chg="add mod">
          <ac:chgData name="HALISDEMIR, Ufuk" userId="569d8f73-9a2b-46ed-81f6-ad4d857e353e" providerId="ADAL" clId="{30D53801-0F48-40E0-8B10-CA3462C3EED0}" dt="2022-10-13T14:58:48.021" v="1416" actId="1076"/>
          <ac:spMkLst>
            <pc:docMk/>
            <pc:sldMk cId="2835993066" sldId="1163"/>
            <ac:spMk id="4" creationId="{2FC57848-BE30-4FAD-AA98-336D5BE28ECA}"/>
          </ac:spMkLst>
        </pc:spChg>
        <pc:spChg chg="mod">
          <ac:chgData name="HALISDEMIR, Ufuk" userId="569d8f73-9a2b-46ed-81f6-ad4d857e353e" providerId="ADAL" clId="{30D53801-0F48-40E0-8B10-CA3462C3EED0}" dt="2022-10-13T14:57:43.470" v="1399"/>
          <ac:spMkLst>
            <pc:docMk/>
            <pc:sldMk cId="2835993066" sldId="1163"/>
            <ac:spMk id="5" creationId="{93799071-C668-45D0-BA0C-7D3510B005A2}"/>
          </ac:spMkLst>
        </pc:spChg>
        <pc:spChg chg="del">
          <ac:chgData name="HALISDEMIR, Ufuk" userId="569d8f73-9a2b-46ed-81f6-ad4d857e353e" providerId="ADAL" clId="{30D53801-0F48-40E0-8B10-CA3462C3EED0}" dt="2022-10-13T14:56:02.828" v="1385" actId="478"/>
          <ac:spMkLst>
            <pc:docMk/>
            <pc:sldMk cId="2835993066" sldId="1163"/>
            <ac:spMk id="7" creationId="{9F22DA1B-DCD5-49EE-9C9A-271BABBC018A}"/>
          </ac:spMkLst>
        </pc:spChg>
        <pc:spChg chg="add mod">
          <ac:chgData name="HALISDEMIR, Ufuk" userId="569d8f73-9a2b-46ed-81f6-ad4d857e353e" providerId="ADAL" clId="{30D53801-0F48-40E0-8B10-CA3462C3EED0}" dt="2022-10-13T14:56:06.240" v="1386"/>
          <ac:spMkLst>
            <pc:docMk/>
            <pc:sldMk cId="2835993066" sldId="1163"/>
            <ac:spMk id="14" creationId="{07EC9DC7-4F5A-4CAA-B700-17A262FD2C2B}"/>
          </ac:spMkLst>
        </pc:spChg>
        <pc:spChg chg="del">
          <ac:chgData name="HALISDEMIR, Ufuk" userId="569d8f73-9a2b-46ed-81f6-ad4d857e353e" providerId="ADAL" clId="{30D53801-0F48-40E0-8B10-CA3462C3EED0}" dt="2022-10-13T14:56:02.828" v="1385" actId="478"/>
          <ac:spMkLst>
            <pc:docMk/>
            <pc:sldMk cId="2835993066" sldId="1163"/>
            <ac:spMk id="17" creationId="{66E12C97-39A4-460C-B681-0C512C23949F}"/>
          </ac:spMkLst>
        </pc:spChg>
        <pc:spChg chg="del">
          <ac:chgData name="HALISDEMIR, Ufuk" userId="569d8f73-9a2b-46ed-81f6-ad4d857e353e" providerId="ADAL" clId="{30D53801-0F48-40E0-8B10-CA3462C3EED0}" dt="2022-10-13T14:56:02.828" v="1385" actId="478"/>
          <ac:spMkLst>
            <pc:docMk/>
            <pc:sldMk cId="2835993066" sldId="1163"/>
            <ac:spMk id="20" creationId="{F85BC56E-1E7D-4108-8A4C-E31A2B43E75C}"/>
          </ac:spMkLst>
        </pc:spChg>
        <pc:spChg chg="del">
          <ac:chgData name="HALISDEMIR, Ufuk" userId="569d8f73-9a2b-46ed-81f6-ad4d857e353e" providerId="ADAL" clId="{30D53801-0F48-40E0-8B10-CA3462C3EED0}" dt="2022-10-13T14:56:02.828" v="1385" actId="478"/>
          <ac:spMkLst>
            <pc:docMk/>
            <pc:sldMk cId="2835993066" sldId="1163"/>
            <ac:spMk id="23" creationId="{F598A707-BC61-4BE5-A602-16B3231306E4}"/>
          </ac:spMkLst>
        </pc:spChg>
        <pc:spChg chg="del mod">
          <ac:chgData name="HALISDEMIR, Ufuk" userId="569d8f73-9a2b-46ed-81f6-ad4d857e353e" providerId="ADAL" clId="{30D53801-0F48-40E0-8B10-CA3462C3EED0}" dt="2022-10-13T14:58:11.231" v="1403" actId="478"/>
          <ac:spMkLst>
            <pc:docMk/>
            <pc:sldMk cId="2835993066" sldId="1163"/>
            <ac:spMk id="26" creationId="{182C576B-381A-4AFA-8A03-669AECDDDBDE}"/>
          </ac:spMkLst>
        </pc:spChg>
        <pc:spChg chg="add mod">
          <ac:chgData name="HALISDEMIR, Ufuk" userId="569d8f73-9a2b-46ed-81f6-ad4d857e353e" providerId="ADAL" clId="{30D53801-0F48-40E0-8B10-CA3462C3EED0}" dt="2022-10-13T14:58:54.472" v="1425" actId="20577"/>
          <ac:spMkLst>
            <pc:docMk/>
            <pc:sldMk cId="2835993066" sldId="1163"/>
            <ac:spMk id="27" creationId="{8441B777-AC99-4615-A007-54B33BE5CE3B}"/>
          </ac:spMkLst>
        </pc:spChg>
        <pc:spChg chg="add mod">
          <ac:chgData name="HALISDEMIR, Ufuk" userId="569d8f73-9a2b-46ed-81f6-ad4d857e353e" providerId="ADAL" clId="{30D53801-0F48-40E0-8B10-CA3462C3EED0}" dt="2022-10-13T14:59:01.742" v="1432" actId="20577"/>
          <ac:spMkLst>
            <pc:docMk/>
            <pc:sldMk cId="2835993066" sldId="1163"/>
            <ac:spMk id="28" creationId="{55E88822-7758-4A7E-997D-232AD44E63D0}"/>
          </ac:spMkLst>
        </pc:spChg>
        <pc:spChg chg="mod">
          <ac:chgData name="HALISDEMIR, Ufuk" userId="569d8f73-9a2b-46ed-81f6-ad4d857e353e" providerId="ADAL" clId="{30D53801-0F48-40E0-8B10-CA3462C3EED0}" dt="2022-10-13T14:59:21.512" v="1435" actId="14100"/>
          <ac:spMkLst>
            <pc:docMk/>
            <pc:sldMk cId="2835993066" sldId="1163"/>
            <ac:spMk id="30" creationId="{DDA120F3-61DB-446D-AAFE-CA7FAD84AA2A}"/>
          </ac:spMkLst>
        </pc:spChg>
        <pc:spChg chg="mod">
          <ac:chgData name="HALISDEMIR, Ufuk" userId="569d8f73-9a2b-46ed-81f6-ad4d857e353e" providerId="ADAL" clId="{30D53801-0F48-40E0-8B10-CA3462C3EED0}" dt="2022-10-13T14:59:21.512" v="1435" actId="14100"/>
          <ac:spMkLst>
            <pc:docMk/>
            <pc:sldMk cId="2835993066" sldId="1163"/>
            <ac:spMk id="31" creationId="{B465E185-6896-4B5C-BDB2-4E48A14AB059}"/>
          </ac:spMkLst>
        </pc:spChg>
        <pc:spChg chg="mod">
          <ac:chgData name="HALISDEMIR, Ufuk" userId="569d8f73-9a2b-46ed-81f6-ad4d857e353e" providerId="ADAL" clId="{30D53801-0F48-40E0-8B10-CA3462C3EED0}" dt="2022-10-13T14:59:21.512" v="1435" actId="14100"/>
          <ac:spMkLst>
            <pc:docMk/>
            <pc:sldMk cId="2835993066" sldId="1163"/>
            <ac:spMk id="32" creationId="{F3B997DB-DF33-41FF-8CCA-5634EFD36C14}"/>
          </ac:spMkLst>
        </pc:spChg>
        <pc:spChg chg="mod">
          <ac:chgData name="HALISDEMIR, Ufuk" userId="569d8f73-9a2b-46ed-81f6-ad4d857e353e" providerId="ADAL" clId="{30D53801-0F48-40E0-8B10-CA3462C3EED0}" dt="2022-10-13T14:59:21.512" v="1435" actId="14100"/>
          <ac:spMkLst>
            <pc:docMk/>
            <pc:sldMk cId="2835993066" sldId="1163"/>
            <ac:spMk id="33" creationId="{03607CD3-0523-45D4-B4BF-E4C6A646A8E1}"/>
          </ac:spMkLst>
        </pc:spChg>
        <pc:spChg chg="mod">
          <ac:chgData name="HALISDEMIR, Ufuk" userId="569d8f73-9a2b-46ed-81f6-ad4d857e353e" providerId="ADAL" clId="{30D53801-0F48-40E0-8B10-CA3462C3EED0}" dt="2022-10-13T14:59:22.252" v="1437"/>
          <ac:spMkLst>
            <pc:docMk/>
            <pc:sldMk cId="2835993066" sldId="1163"/>
            <ac:spMk id="39" creationId="{49FFDF21-68EA-4F82-9A7A-08367FED34C3}"/>
          </ac:spMkLst>
        </pc:spChg>
        <pc:spChg chg="mod">
          <ac:chgData name="HALISDEMIR, Ufuk" userId="569d8f73-9a2b-46ed-81f6-ad4d857e353e" providerId="ADAL" clId="{30D53801-0F48-40E0-8B10-CA3462C3EED0}" dt="2022-10-13T14:59:22.252" v="1437"/>
          <ac:spMkLst>
            <pc:docMk/>
            <pc:sldMk cId="2835993066" sldId="1163"/>
            <ac:spMk id="40" creationId="{11740646-6EAF-43B9-9DC5-2E724B37F292}"/>
          </ac:spMkLst>
        </pc:spChg>
        <pc:spChg chg="mod">
          <ac:chgData name="HALISDEMIR, Ufuk" userId="569d8f73-9a2b-46ed-81f6-ad4d857e353e" providerId="ADAL" clId="{30D53801-0F48-40E0-8B10-CA3462C3EED0}" dt="2022-10-13T14:59:22.252" v="1437"/>
          <ac:spMkLst>
            <pc:docMk/>
            <pc:sldMk cId="2835993066" sldId="1163"/>
            <ac:spMk id="41" creationId="{37C79749-9688-4C4D-9798-86C3A23E47C8}"/>
          </ac:spMkLst>
        </pc:spChg>
        <pc:spChg chg="mod">
          <ac:chgData name="HALISDEMIR, Ufuk" userId="569d8f73-9a2b-46ed-81f6-ad4d857e353e" providerId="ADAL" clId="{30D53801-0F48-40E0-8B10-CA3462C3EED0}" dt="2022-10-13T14:59:22.252" v="1437"/>
          <ac:spMkLst>
            <pc:docMk/>
            <pc:sldMk cId="2835993066" sldId="1163"/>
            <ac:spMk id="42" creationId="{A165188F-4B6C-4F8B-8FAF-4F2FF9EF78E6}"/>
          </ac:spMkLst>
        </pc:spChg>
        <pc:spChg chg="add mod">
          <ac:chgData name="HALISDEMIR, Ufuk" userId="569d8f73-9a2b-46ed-81f6-ad4d857e353e" providerId="ADAL" clId="{30D53801-0F48-40E0-8B10-CA3462C3EED0}" dt="2022-10-13T15:00:37.195" v="1446" actId="14100"/>
          <ac:spMkLst>
            <pc:docMk/>
            <pc:sldMk cId="2835993066" sldId="1163"/>
            <ac:spMk id="47" creationId="{6454BFCB-B645-416D-B74F-74FEC80ACD36}"/>
          </ac:spMkLst>
        </pc:spChg>
        <pc:spChg chg="add mod">
          <ac:chgData name="HALISDEMIR, Ufuk" userId="569d8f73-9a2b-46ed-81f6-ad4d857e353e" providerId="ADAL" clId="{30D53801-0F48-40E0-8B10-CA3462C3EED0}" dt="2022-10-13T15:01:32.872" v="1459" actId="1076"/>
          <ac:spMkLst>
            <pc:docMk/>
            <pc:sldMk cId="2835993066" sldId="1163"/>
            <ac:spMk id="48" creationId="{118D6CB6-0E4C-4042-8A13-E5F98B5A5959}"/>
          </ac:spMkLst>
        </pc:spChg>
        <pc:spChg chg="add mod">
          <ac:chgData name="HALISDEMIR, Ufuk" userId="569d8f73-9a2b-46ed-81f6-ad4d857e353e" providerId="ADAL" clId="{30D53801-0F48-40E0-8B10-CA3462C3EED0}" dt="2022-10-13T15:05:31.651" v="1762" actId="207"/>
          <ac:spMkLst>
            <pc:docMk/>
            <pc:sldMk cId="2835993066" sldId="1163"/>
            <ac:spMk id="51" creationId="{8094FFEC-70C3-4CE5-A284-A8B462094801}"/>
          </ac:spMkLst>
        </pc:spChg>
        <pc:spChg chg="add mod">
          <ac:chgData name="HALISDEMIR, Ufuk" userId="569d8f73-9a2b-46ed-81f6-ad4d857e353e" providerId="ADAL" clId="{30D53801-0F48-40E0-8B10-CA3462C3EED0}" dt="2022-10-13T15:11:56.875" v="1945" actId="1076"/>
          <ac:spMkLst>
            <pc:docMk/>
            <pc:sldMk cId="2835993066" sldId="1163"/>
            <ac:spMk id="52" creationId="{CBBACFF6-FE0E-4478-A08D-4E504A174424}"/>
          </ac:spMkLst>
        </pc:spChg>
        <pc:grpChg chg="add del mod">
          <ac:chgData name="HALISDEMIR, Ufuk" userId="569d8f73-9a2b-46ed-81f6-ad4d857e353e" providerId="ADAL" clId="{30D53801-0F48-40E0-8B10-CA3462C3EED0}" dt="2022-10-13T14:56:18.818" v="1389" actId="478"/>
          <ac:grpSpMkLst>
            <pc:docMk/>
            <pc:sldMk cId="2835993066" sldId="1163"/>
            <ac:grpSpMk id="12" creationId="{767831A0-0B9A-494B-B634-04D4D55C763C}"/>
          </ac:grpSpMkLst>
        </pc:grpChg>
        <pc:grpChg chg="add mod">
          <ac:chgData name="HALISDEMIR, Ufuk" userId="569d8f73-9a2b-46ed-81f6-ad4d857e353e" providerId="ADAL" clId="{30D53801-0F48-40E0-8B10-CA3462C3EED0}" dt="2022-10-13T14:58:20.843" v="1404" actId="1076"/>
          <ac:grpSpMkLst>
            <pc:docMk/>
            <pc:sldMk cId="2835993066" sldId="1163"/>
            <ac:grpSpMk id="16" creationId="{A2447BD2-107C-46A2-8496-D2CA4E19BCA8}"/>
          </ac:grpSpMkLst>
        </pc:grpChg>
        <pc:grpChg chg="add del mod">
          <ac:chgData name="HALISDEMIR, Ufuk" userId="569d8f73-9a2b-46ed-81f6-ad4d857e353e" providerId="ADAL" clId="{30D53801-0F48-40E0-8B10-CA3462C3EED0}" dt="2022-10-13T14:59:21.812" v="1436"/>
          <ac:grpSpMkLst>
            <pc:docMk/>
            <pc:sldMk cId="2835993066" sldId="1163"/>
            <ac:grpSpMk id="29" creationId="{AA6F9AA3-ECC8-47CB-962B-0789E8A413C6}"/>
          </ac:grpSpMkLst>
        </pc:grpChg>
        <pc:grpChg chg="add del mod">
          <ac:chgData name="HALISDEMIR, Ufuk" userId="569d8f73-9a2b-46ed-81f6-ad4d857e353e" providerId="ADAL" clId="{30D53801-0F48-40E0-8B10-CA3462C3EED0}" dt="2022-10-13T14:59:23.957" v="1438"/>
          <ac:grpSpMkLst>
            <pc:docMk/>
            <pc:sldMk cId="2835993066" sldId="1163"/>
            <ac:grpSpMk id="38" creationId="{6C2FCC3D-1094-45B9-9370-6CE17E4690B3}"/>
          </ac:grpSpMkLst>
        </pc:grpChg>
        <pc:picChg chg="add mod">
          <ac:chgData name="HALISDEMIR, Ufuk" userId="569d8f73-9a2b-46ed-81f6-ad4d857e353e" providerId="ADAL" clId="{30D53801-0F48-40E0-8B10-CA3462C3EED0}" dt="2022-10-13T15:11:54.679" v="1944" actId="1076"/>
          <ac:picMkLst>
            <pc:docMk/>
            <pc:sldMk cId="2835993066" sldId="1163"/>
            <ac:picMk id="6" creationId="{FF329C35-B846-4D91-82BA-3BE8F79472C2}"/>
          </ac:picMkLst>
        </pc:picChg>
        <pc:picChg chg="add mod">
          <ac:chgData name="HALISDEMIR, Ufuk" userId="569d8f73-9a2b-46ed-81f6-ad4d857e353e" providerId="ADAL" clId="{30D53801-0F48-40E0-8B10-CA3462C3EED0}" dt="2022-10-14T14:27:42.509" v="2681"/>
          <ac:picMkLst>
            <pc:docMk/>
            <pc:sldMk cId="2835993066" sldId="1163"/>
            <ac:picMk id="7" creationId="{E81D850E-EBCB-4102-BC53-5EA17D2277B7}"/>
          </ac:picMkLst>
        </pc:picChg>
        <pc:picChg chg="add mod">
          <ac:chgData name="HALISDEMIR, Ufuk" userId="569d8f73-9a2b-46ed-81f6-ad4d857e353e" providerId="ADAL" clId="{30D53801-0F48-40E0-8B10-CA3462C3EED0}" dt="2022-10-13T14:56:06.240" v="1386"/>
          <ac:picMkLst>
            <pc:docMk/>
            <pc:sldMk cId="2835993066" sldId="1163"/>
            <ac:picMk id="13" creationId="{BAA1606A-8AFD-4BD8-8975-7456608E14B3}"/>
          </ac:picMkLst>
        </pc:picChg>
        <pc:picChg chg="add del mod">
          <ac:chgData name="HALISDEMIR, Ufuk" userId="569d8f73-9a2b-46ed-81f6-ad4d857e353e" providerId="ADAL" clId="{30D53801-0F48-40E0-8B10-CA3462C3EED0}" dt="2022-10-13T15:01:05.124" v="1453" actId="478"/>
          <ac:picMkLst>
            <pc:docMk/>
            <pc:sldMk cId="2835993066" sldId="1163"/>
            <ac:picMk id="15" creationId="{89B77936-FD69-4B83-873C-EA50768BD33E}"/>
          </ac:picMkLst>
        </pc:picChg>
        <pc:picChg chg="mod">
          <ac:chgData name="HALISDEMIR, Ufuk" userId="569d8f73-9a2b-46ed-81f6-ad4d857e353e" providerId="ADAL" clId="{30D53801-0F48-40E0-8B10-CA3462C3EED0}" dt="2022-10-13T14:58:20.843" v="1404" actId="1076"/>
          <ac:picMkLst>
            <pc:docMk/>
            <pc:sldMk cId="2835993066" sldId="1163"/>
            <ac:picMk id="18" creationId="{2C902633-CA9B-48C8-B4CD-90CD59A746B4}"/>
          </ac:picMkLst>
        </pc:picChg>
        <pc:picChg chg="mod">
          <ac:chgData name="HALISDEMIR, Ufuk" userId="569d8f73-9a2b-46ed-81f6-ad4d857e353e" providerId="ADAL" clId="{30D53801-0F48-40E0-8B10-CA3462C3EED0}" dt="2022-10-13T14:58:20.843" v="1404" actId="1076"/>
          <ac:picMkLst>
            <pc:docMk/>
            <pc:sldMk cId="2835993066" sldId="1163"/>
            <ac:picMk id="19" creationId="{D4142AB4-0C43-490F-80BB-95A04CAE331A}"/>
          </ac:picMkLst>
        </pc:picChg>
        <pc:picChg chg="mod">
          <ac:chgData name="HALISDEMIR, Ufuk" userId="569d8f73-9a2b-46ed-81f6-ad4d857e353e" providerId="ADAL" clId="{30D53801-0F48-40E0-8B10-CA3462C3EED0}" dt="2022-10-13T14:58:20.843" v="1404" actId="1076"/>
          <ac:picMkLst>
            <pc:docMk/>
            <pc:sldMk cId="2835993066" sldId="1163"/>
            <ac:picMk id="21" creationId="{6A66C1EA-8BF8-4007-9F0A-C9139013FEC4}"/>
          </ac:picMkLst>
        </pc:picChg>
        <pc:picChg chg="del">
          <ac:chgData name="HALISDEMIR, Ufuk" userId="569d8f73-9a2b-46ed-81f6-ad4d857e353e" providerId="ADAL" clId="{30D53801-0F48-40E0-8B10-CA3462C3EED0}" dt="2022-10-13T14:56:02.828" v="1385" actId="478"/>
          <ac:picMkLst>
            <pc:docMk/>
            <pc:sldMk cId="2835993066" sldId="1163"/>
            <ac:picMk id="22" creationId="{C6980ABB-8075-468E-A0A4-AA30DA2209A2}"/>
          </ac:picMkLst>
        </pc:picChg>
        <pc:picChg chg="del">
          <ac:chgData name="HALISDEMIR, Ufuk" userId="569d8f73-9a2b-46ed-81f6-ad4d857e353e" providerId="ADAL" clId="{30D53801-0F48-40E0-8B10-CA3462C3EED0}" dt="2022-10-13T14:56:02.828" v="1385" actId="478"/>
          <ac:picMkLst>
            <pc:docMk/>
            <pc:sldMk cId="2835993066" sldId="1163"/>
            <ac:picMk id="24" creationId="{3B3D716B-FD8F-4778-94FF-F0B5E40EA34F}"/>
          </ac:picMkLst>
        </pc:picChg>
        <pc:picChg chg="del">
          <ac:chgData name="HALISDEMIR, Ufuk" userId="569d8f73-9a2b-46ed-81f6-ad4d857e353e" providerId="ADAL" clId="{30D53801-0F48-40E0-8B10-CA3462C3EED0}" dt="2022-10-13T14:56:02.828" v="1385" actId="478"/>
          <ac:picMkLst>
            <pc:docMk/>
            <pc:sldMk cId="2835993066" sldId="1163"/>
            <ac:picMk id="25" creationId="{88835D57-77B5-4692-A69A-2334A307598F}"/>
          </ac:picMkLst>
        </pc:picChg>
        <pc:picChg chg="mod">
          <ac:chgData name="HALISDEMIR, Ufuk" userId="569d8f73-9a2b-46ed-81f6-ad4d857e353e" providerId="ADAL" clId="{30D53801-0F48-40E0-8B10-CA3462C3EED0}" dt="2022-10-13T14:59:21.512" v="1435" actId="14100"/>
          <ac:picMkLst>
            <pc:docMk/>
            <pc:sldMk cId="2835993066" sldId="1163"/>
            <ac:picMk id="37" creationId="{D9080B66-07DC-4A49-9135-E91EC5E83702}"/>
          </ac:picMkLst>
        </pc:picChg>
        <pc:picChg chg="mod">
          <ac:chgData name="HALISDEMIR, Ufuk" userId="569d8f73-9a2b-46ed-81f6-ad4d857e353e" providerId="ADAL" clId="{30D53801-0F48-40E0-8B10-CA3462C3EED0}" dt="2022-10-13T14:59:22.252" v="1437"/>
          <ac:picMkLst>
            <pc:docMk/>
            <pc:sldMk cId="2835993066" sldId="1163"/>
            <ac:picMk id="46" creationId="{079E51F9-1642-41AB-98B0-B3E76EF8C004}"/>
          </ac:picMkLst>
        </pc:picChg>
        <pc:picChg chg="add mod">
          <ac:chgData name="HALISDEMIR, Ufuk" userId="569d8f73-9a2b-46ed-81f6-ad4d857e353e" providerId="ADAL" clId="{30D53801-0F48-40E0-8B10-CA3462C3EED0}" dt="2022-10-13T15:01:37.113" v="1461" actId="1076"/>
          <ac:picMkLst>
            <pc:docMk/>
            <pc:sldMk cId="2835993066" sldId="1163"/>
            <ac:picMk id="49" creationId="{6E3936DE-2B85-42BF-9929-B9424D4D74BB}"/>
          </ac:picMkLst>
        </pc:picChg>
        <pc:picChg chg="add mod">
          <ac:chgData name="HALISDEMIR, Ufuk" userId="569d8f73-9a2b-46ed-81f6-ad4d857e353e" providerId="ADAL" clId="{30D53801-0F48-40E0-8B10-CA3462C3EED0}" dt="2022-10-13T15:01:37.113" v="1461" actId="1076"/>
          <ac:picMkLst>
            <pc:docMk/>
            <pc:sldMk cId="2835993066" sldId="1163"/>
            <ac:picMk id="50" creationId="{23FF9AF4-077A-4F96-8CDF-C5A3CB225A0C}"/>
          </ac:picMkLst>
        </pc:picChg>
        <pc:cxnChg chg="mod">
          <ac:chgData name="HALISDEMIR, Ufuk" userId="569d8f73-9a2b-46ed-81f6-ad4d857e353e" providerId="ADAL" clId="{30D53801-0F48-40E0-8B10-CA3462C3EED0}" dt="2022-10-13T14:59:21.512" v="1435" actId="14100"/>
          <ac:cxnSpMkLst>
            <pc:docMk/>
            <pc:sldMk cId="2835993066" sldId="1163"/>
            <ac:cxnSpMk id="34" creationId="{EA93C4DC-5B40-4960-898D-E822EC663C58}"/>
          </ac:cxnSpMkLst>
        </pc:cxnChg>
        <pc:cxnChg chg="mod">
          <ac:chgData name="HALISDEMIR, Ufuk" userId="569d8f73-9a2b-46ed-81f6-ad4d857e353e" providerId="ADAL" clId="{30D53801-0F48-40E0-8B10-CA3462C3EED0}" dt="2022-10-13T14:59:21.512" v="1435" actId="14100"/>
          <ac:cxnSpMkLst>
            <pc:docMk/>
            <pc:sldMk cId="2835993066" sldId="1163"/>
            <ac:cxnSpMk id="35" creationId="{C4E7019E-73A0-4931-A9E6-0732500193C9}"/>
          </ac:cxnSpMkLst>
        </pc:cxnChg>
        <pc:cxnChg chg="mod">
          <ac:chgData name="HALISDEMIR, Ufuk" userId="569d8f73-9a2b-46ed-81f6-ad4d857e353e" providerId="ADAL" clId="{30D53801-0F48-40E0-8B10-CA3462C3EED0}" dt="2022-10-13T14:59:21.512" v="1435" actId="14100"/>
          <ac:cxnSpMkLst>
            <pc:docMk/>
            <pc:sldMk cId="2835993066" sldId="1163"/>
            <ac:cxnSpMk id="36" creationId="{167FB42B-D09F-4008-8F0D-7CAF231A0759}"/>
          </ac:cxnSpMkLst>
        </pc:cxnChg>
        <pc:cxnChg chg="mod">
          <ac:chgData name="HALISDEMIR, Ufuk" userId="569d8f73-9a2b-46ed-81f6-ad4d857e353e" providerId="ADAL" clId="{30D53801-0F48-40E0-8B10-CA3462C3EED0}" dt="2022-10-13T14:59:22.252" v="1437"/>
          <ac:cxnSpMkLst>
            <pc:docMk/>
            <pc:sldMk cId="2835993066" sldId="1163"/>
            <ac:cxnSpMk id="43" creationId="{8151CF57-90FE-4876-8A69-1D785A5E7B0E}"/>
          </ac:cxnSpMkLst>
        </pc:cxnChg>
        <pc:cxnChg chg="mod">
          <ac:chgData name="HALISDEMIR, Ufuk" userId="569d8f73-9a2b-46ed-81f6-ad4d857e353e" providerId="ADAL" clId="{30D53801-0F48-40E0-8B10-CA3462C3EED0}" dt="2022-10-13T14:59:22.252" v="1437"/>
          <ac:cxnSpMkLst>
            <pc:docMk/>
            <pc:sldMk cId="2835993066" sldId="1163"/>
            <ac:cxnSpMk id="44" creationId="{F5A68E97-BB42-46AF-B754-C95E3848A639}"/>
          </ac:cxnSpMkLst>
        </pc:cxnChg>
        <pc:cxnChg chg="mod">
          <ac:chgData name="HALISDEMIR, Ufuk" userId="569d8f73-9a2b-46ed-81f6-ad4d857e353e" providerId="ADAL" clId="{30D53801-0F48-40E0-8B10-CA3462C3EED0}" dt="2022-10-13T14:59:22.252" v="1437"/>
          <ac:cxnSpMkLst>
            <pc:docMk/>
            <pc:sldMk cId="2835993066" sldId="1163"/>
            <ac:cxnSpMk id="45" creationId="{F71177F5-ACA1-4086-BAC1-D1F8527343E6}"/>
          </ac:cxnSpMkLst>
        </pc:cxnChg>
      </pc:sldChg>
      <pc:sldChg chg="addSp delSp modSp add mod modTransition modAnim">
        <pc:chgData name="HALISDEMIR, Ufuk" userId="569d8f73-9a2b-46ed-81f6-ad4d857e353e" providerId="ADAL" clId="{30D53801-0F48-40E0-8B10-CA3462C3EED0}" dt="2022-10-14T14:38:49.549" v="2684"/>
        <pc:sldMkLst>
          <pc:docMk/>
          <pc:sldMk cId="2605241523" sldId="1164"/>
        </pc:sldMkLst>
        <pc:spChg chg="del">
          <ac:chgData name="HALISDEMIR, Ufuk" userId="569d8f73-9a2b-46ed-81f6-ad4d857e353e" providerId="ADAL" clId="{30D53801-0F48-40E0-8B10-CA3462C3EED0}" dt="2022-10-13T15:07:27.069" v="1764" actId="478"/>
          <ac:spMkLst>
            <pc:docMk/>
            <pc:sldMk cId="2605241523" sldId="1164"/>
            <ac:spMk id="4" creationId="{2FC57848-BE30-4FAD-AA98-336D5BE28ECA}"/>
          </ac:spMkLst>
        </pc:spChg>
        <pc:spChg chg="add mod">
          <ac:chgData name="HALISDEMIR, Ufuk" userId="569d8f73-9a2b-46ed-81f6-ad4d857e353e" providerId="ADAL" clId="{30D53801-0F48-40E0-8B10-CA3462C3EED0}" dt="2022-10-13T15:07:46.417" v="1773" actId="1076"/>
          <ac:spMkLst>
            <pc:docMk/>
            <pc:sldMk cId="2605241523" sldId="1164"/>
            <ac:spMk id="7" creationId="{196930E6-6A63-43D9-B8C8-4FC06136B947}"/>
          </ac:spMkLst>
        </pc:spChg>
        <pc:spChg chg="add mod">
          <ac:chgData name="HALISDEMIR, Ufuk" userId="569d8f73-9a2b-46ed-81f6-ad4d857e353e" providerId="ADAL" clId="{30D53801-0F48-40E0-8B10-CA3462C3EED0}" dt="2022-10-13T15:09:43.682" v="1855" actId="1076"/>
          <ac:spMkLst>
            <pc:docMk/>
            <pc:sldMk cId="2605241523" sldId="1164"/>
            <ac:spMk id="8" creationId="{E9535915-B2F2-43DC-BFE5-68D4D91F11AF}"/>
          </ac:spMkLst>
        </pc:spChg>
        <pc:spChg chg="add mod">
          <ac:chgData name="HALISDEMIR, Ufuk" userId="569d8f73-9a2b-46ed-81f6-ad4d857e353e" providerId="ADAL" clId="{30D53801-0F48-40E0-8B10-CA3462C3EED0}" dt="2022-10-13T15:07:51.769" v="1778" actId="20577"/>
          <ac:spMkLst>
            <pc:docMk/>
            <pc:sldMk cId="2605241523" sldId="1164"/>
            <ac:spMk id="25" creationId="{71446D18-5604-4FD2-8D7F-90A962B714C6}"/>
          </ac:spMkLst>
        </pc:spChg>
        <pc:spChg chg="add mod">
          <ac:chgData name="HALISDEMIR, Ufuk" userId="569d8f73-9a2b-46ed-81f6-ad4d857e353e" providerId="ADAL" clId="{30D53801-0F48-40E0-8B10-CA3462C3EED0}" dt="2022-10-13T15:08:01.917" v="1779" actId="571"/>
          <ac:spMkLst>
            <pc:docMk/>
            <pc:sldMk cId="2605241523" sldId="1164"/>
            <ac:spMk id="26" creationId="{3F2841B9-4BDF-4D49-95EC-8C30CBB52D72}"/>
          </ac:spMkLst>
        </pc:spChg>
        <pc:spChg chg="del">
          <ac:chgData name="HALISDEMIR, Ufuk" userId="569d8f73-9a2b-46ed-81f6-ad4d857e353e" providerId="ADAL" clId="{30D53801-0F48-40E0-8B10-CA3462C3EED0}" dt="2022-10-13T15:07:27.069" v="1764" actId="478"/>
          <ac:spMkLst>
            <pc:docMk/>
            <pc:sldMk cId="2605241523" sldId="1164"/>
            <ac:spMk id="27" creationId="{8441B777-AC99-4615-A007-54B33BE5CE3B}"/>
          </ac:spMkLst>
        </pc:spChg>
        <pc:spChg chg="del">
          <ac:chgData name="HALISDEMIR, Ufuk" userId="569d8f73-9a2b-46ed-81f6-ad4d857e353e" providerId="ADAL" clId="{30D53801-0F48-40E0-8B10-CA3462C3EED0}" dt="2022-10-13T15:07:27.069" v="1764" actId="478"/>
          <ac:spMkLst>
            <pc:docMk/>
            <pc:sldMk cId="2605241523" sldId="1164"/>
            <ac:spMk id="28" creationId="{55E88822-7758-4A7E-997D-232AD44E63D0}"/>
          </ac:spMkLst>
        </pc:spChg>
        <pc:spChg chg="add mod">
          <ac:chgData name="HALISDEMIR, Ufuk" userId="569d8f73-9a2b-46ed-81f6-ad4d857e353e" providerId="ADAL" clId="{30D53801-0F48-40E0-8B10-CA3462C3EED0}" dt="2022-10-13T15:08:01.917" v="1779" actId="571"/>
          <ac:spMkLst>
            <pc:docMk/>
            <pc:sldMk cId="2605241523" sldId="1164"/>
            <ac:spMk id="29" creationId="{E430C658-F102-4199-9853-EC317252E41B}"/>
          </ac:spMkLst>
        </pc:spChg>
        <pc:spChg chg="add mod">
          <ac:chgData name="HALISDEMIR, Ufuk" userId="569d8f73-9a2b-46ed-81f6-ad4d857e353e" providerId="ADAL" clId="{30D53801-0F48-40E0-8B10-CA3462C3EED0}" dt="2022-10-13T15:08:47.060" v="1796" actId="20577"/>
          <ac:spMkLst>
            <pc:docMk/>
            <pc:sldMk cId="2605241523" sldId="1164"/>
            <ac:spMk id="30" creationId="{EF46C130-3587-4E7D-BF24-D2C66BE47D64}"/>
          </ac:spMkLst>
        </pc:spChg>
        <pc:spChg chg="add mod">
          <ac:chgData name="HALISDEMIR, Ufuk" userId="569d8f73-9a2b-46ed-81f6-ad4d857e353e" providerId="ADAL" clId="{30D53801-0F48-40E0-8B10-CA3462C3EED0}" dt="2022-10-13T15:08:54.670" v="1801" actId="20577"/>
          <ac:spMkLst>
            <pc:docMk/>
            <pc:sldMk cId="2605241523" sldId="1164"/>
            <ac:spMk id="31" creationId="{F3083D59-7BD8-4702-AF03-679433E94E6F}"/>
          </ac:spMkLst>
        </pc:spChg>
        <pc:spChg chg="add mod">
          <ac:chgData name="HALISDEMIR, Ufuk" userId="569d8f73-9a2b-46ed-81f6-ad4d857e353e" providerId="ADAL" clId="{30D53801-0F48-40E0-8B10-CA3462C3EED0}" dt="2022-10-13T15:09:00.330" v="1804" actId="20577"/>
          <ac:spMkLst>
            <pc:docMk/>
            <pc:sldMk cId="2605241523" sldId="1164"/>
            <ac:spMk id="32" creationId="{6CEF1B58-922E-4CEC-A195-74A8C0787484}"/>
          </ac:spMkLst>
        </pc:spChg>
        <pc:spChg chg="add mod">
          <ac:chgData name="HALISDEMIR, Ufuk" userId="569d8f73-9a2b-46ed-81f6-ad4d857e353e" providerId="ADAL" clId="{30D53801-0F48-40E0-8B10-CA3462C3EED0}" dt="2022-10-13T15:09:08.780" v="1805" actId="571"/>
          <ac:spMkLst>
            <pc:docMk/>
            <pc:sldMk cId="2605241523" sldId="1164"/>
            <ac:spMk id="33" creationId="{57C3E581-4F5B-4F0E-81EE-EA6A4324BB45}"/>
          </ac:spMkLst>
        </pc:spChg>
        <pc:spChg chg="add mod">
          <ac:chgData name="HALISDEMIR, Ufuk" userId="569d8f73-9a2b-46ed-81f6-ad4d857e353e" providerId="ADAL" clId="{30D53801-0F48-40E0-8B10-CA3462C3EED0}" dt="2022-10-13T15:09:08.780" v="1805" actId="571"/>
          <ac:spMkLst>
            <pc:docMk/>
            <pc:sldMk cId="2605241523" sldId="1164"/>
            <ac:spMk id="34" creationId="{F01C541E-6E11-49D8-AC0C-A1F05316ECC4}"/>
          </ac:spMkLst>
        </pc:spChg>
        <pc:spChg chg="add mod">
          <ac:chgData name="HALISDEMIR, Ufuk" userId="569d8f73-9a2b-46ed-81f6-ad4d857e353e" providerId="ADAL" clId="{30D53801-0F48-40E0-8B10-CA3462C3EED0}" dt="2022-10-13T15:09:08.780" v="1805" actId="571"/>
          <ac:spMkLst>
            <pc:docMk/>
            <pc:sldMk cId="2605241523" sldId="1164"/>
            <ac:spMk id="35" creationId="{A0A6D5EC-3FBB-48BC-881E-1135A511BBBA}"/>
          </ac:spMkLst>
        </pc:spChg>
        <pc:spChg chg="add mod">
          <ac:chgData name="HALISDEMIR, Ufuk" userId="569d8f73-9a2b-46ed-81f6-ad4d857e353e" providerId="ADAL" clId="{30D53801-0F48-40E0-8B10-CA3462C3EED0}" dt="2022-10-13T15:10:13.220" v="1901" actId="20577"/>
          <ac:spMkLst>
            <pc:docMk/>
            <pc:sldMk cId="2605241523" sldId="1164"/>
            <ac:spMk id="36" creationId="{EA16C6A3-9C98-4959-98B2-07BB676AF168}"/>
          </ac:spMkLst>
        </pc:spChg>
        <pc:spChg chg="mod">
          <ac:chgData name="HALISDEMIR, Ufuk" userId="569d8f73-9a2b-46ed-81f6-ad4d857e353e" providerId="ADAL" clId="{30D53801-0F48-40E0-8B10-CA3462C3EED0}" dt="2022-10-13T15:10:18.430" v="1902" actId="1076"/>
          <ac:spMkLst>
            <pc:docMk/>
            <pc:sldMk cId="2605241523" sldId="1164"/>
            <ac:spMk id="48" creationId="{118D6CB6-0E4C-4042-8A13-E5F98B5A5959}"/>
          </ac:spMkLst>
        </pc:spChg>
        <pc:spChg chg="del">
          <ac:chgData name="HALISDEMIR, Ufuk" userId="569d8f73-9a2b-46ed-81f6-ad4d857e353e" providerId="ADAL" clId="{30D53801-0F48-40E0-8B10-CA3462C3EED0}" dt="2022-10-13T15:07:27.069" v="1764" actId="478"/>
          <ac:spMkLst>
            <pc:docMk/>
            <pc:sldMk cId="2605241523" sldId="1164"/>
            <ac:spMk id="51" creationId="{8094FFEC-70C3-4CE5-A284-A8B462094801}"/>
          </ac:spMkLst>
        </pc:spChg>
        <pc:grpChg chg="del">
          <ac:chgData name="HALISDEMIR, Ufuk" userId="569d8f73-9a2b-46ed-81f6-ad4d857e353e" providerId="ADAL" clId="{30D53801-0F48-40E0-8B10-CA3462C3EED0}" dt="2022-10-13T15:07:27.069" v="1764" actId="478"/>
          <ac:grpSpMkLst>
            <pc:docMk/>
            <pc:sldMk cId="2605241523" sldId="1164"/>
            <ac:grpSpMk id="16" creationId="{A2447BD2-107C-46A2-8496-D2CA4E19BCA8}"/>
          </ac:grpSpMkLst>
        </pc:grpChg>
        <pc:picChg chg="add del mod">
          <ac:chgData name="HALISDEMIR, Ufuk" userId="569d8f73-9a2b-46ed-81f6-ad4d857e353e" providerId="ADAL" clId="{30D53801-0F48-40E0-8B10-CA3462C3EED0}" dt="2022-10-14T14:38:10.144" v="2683"/>
          <ac:picMkLst>
            <pc:docMk/>
            <pc:sldMk cId="2605241523" sldId="1164"/>
            <ac:picMk id="4" creationId="{655099EE-7ABD-4842-978F-950232073800}"/>
          </ac:picMkLst>
        </pc:picChg>
        <pc:picChg chg="add mod">
          <ac:chgData name="HALISDEMIR, Ufuk" userId="569d8f73-9a2b-46ed-81f6-ad4d857e353e" providerId="ADAL" clId="{30D53801-0F48-40E0-8B10-CA3462C3EED0}" dt="2022-10-14T14:38:49.549" v="2684"/>
          <ac:picMkLst>
            <pc:docMk/>
            <pc:sldMk cId="2605241523" sldId="1164"/>
            <ac:picMk id="6" creationId="{3D70E96A-E517-4D04-A781-D6FCEC2A0BB9}"/>
          </ac:picMkLst>
        </pc:picChg>
        <pc:picChg chg="del">
          <ac:chgData name="HALISDEMIR, Ufuk" userId="569d8f73-9a2b-46ed-81f6-ad4d857e353e" providerId="ADAL" clId="{30D53801-0F48-40E0-8B10-CA3462C3EED0}" dt="2022-10-13T15:07:27.069" v="1764" actId="478"/>
          <ac:picMkLst>
            <pc:docMk/>
            <pc:sldMk cId="2605241523" sldId="1164"/>
            <ac:picMk id="6" creationId="{FF329C35-B846-4D91-82BA-3BE8F79472C2}"/>
          </ac:picMkLst>
        </pc:picChg>
        <pc:picChg chg="add mod">
          <ac:chgData name="HALISDEMIR, Ufuk" userId="569d8f73-9a2b-46ed-81f6-ad4d857e353e" providerId="ADAL" clId="{30D53801-0F48-40E0-8B10-CA3462C3EED0}" dt="2022-10-13T15:07:29.880" v="1766" actId="1076"/>
          <ac:picMkLst>
            <pc:docMk/>
            <pc:sldMk cId="2605241523" sldId="1164"/>
            <ac:picMk id="20" creationId="{91A4BC86-195D-46A0-827F-DAC1B9483A6B}"/>
          </ac:picMkLst>
        </pc:picChg>
        <pc:picChg chg="add mod">
          <ac:chgData name="HALISDEMIR, Ufuk" userId="569d8f73-9a2b-46ed-81f6-ad4d857e353e" providerId="ADAL" clId="{30D53801-0F48-40E0-8B10-CA3462C3EED0}" dt="2022-10-13T15:07:29.880" v="1766" actId="1076"/>
          <ac:picMkLst>
            <pc:docMk/>
            <pc:sldMk cId="2605241523" sldId="1164"/>
            <ac:picMk id="23" creationId="{ABD219EF-3DCA-4E94-9FFE-A3022DEF9F27}"/>
          </ac:picMkLst>
        </pc:picChg>
        <pc:picChg chg="del">
          <ac:chgData name="HALISDEMIR, Ufuk" userId="569d8f73-9a2b-46ed-81f6-ad4d857e353e" providerId="ADAL" clId="{30D53801-0F48-40E0-8B10-CA3462C3EED0}" dt="2022-10-13T15:07:27.069" v="1764" actId="478"/>
          <ac:picMkLst>
            <pc:docMk/>
            <pc:sldMk cId="2605241523" sldId="1164"/>
            <ac:picMk id="49" creationId="{6E3936DE-2B85-42BF-9929-B9424D4D74BB}"/>
          </ac:picMkLst>
        </pc:picChg>
        <pc:picChg chg="del">
          <ac:chgData name="HALISDEMIR, Ufuk" userId="569d8f73-9a2b-46ed-81f6-ad4d857e353e" providerId="ADAL" clId="{30D53801-0F48-40E0-8B10-CA3462C3EED0}" dt="2022-10-13T15:07:27.069" v="1764" actId="478"/>
          <ac:picMkLst>
            <pc:docMk/>
            <pc:sldMk cId="2605241523" sldId="1164"/>
            <ac:picMk id="50" creationId="{23FF9AF4-077A-4F96-8CDF-C5A3CB225A0C}"/>
          </ac:picMkLst>
        </pc:picChg>
        <pc:cxnChg chg="add mod">
          <ac:chgData name="HALISDEMIR, Ufuk" userId="569d8f73-9a2b-46ed-81f6-ad4d857e353e" providerId="ADAL" clId="{30D53801-0F48-40E0-8B10-CA3462C3EED0}" dt="2022-10-13T15:07:29.880" v="1766" actId="1076"/>
          <ac:cxnSpMkLst>
            <pc:docMk/>
            <pc:sldMk cId="2605241523" sldId="1164"/>
            <ac:cxnSpMk id="22" creationId="{7E62550B-0CAE-4F64-AF70-72A67818ED3B}"/>
          </ac:cxnSpMkLst>
        </pc:cxnChg>
        <pc:cxnChg chg="add mod">
          <ac:chgData name="HALISDEMIR, Ufuk" userId="569d8f73-9a2b-46ed-81f6-ad4d857e353e" providerId="ADAL" clId="{30D53801-0F48-40E0-8B10-CA3462C3EED0}" dt="2022-10-13T15:07:29.880" v="1766" actId="1076"/>
          <ac:cxnSpMkLst>
            <pc:docMk/>
            <pc:sldMk cId="2605241523" sldId="1164"/>
            <ac:cxnSpMk id="24" creationId="{E7F60E72-0DA2-4D1F-9B54-A7C63D520006}"/>
          </ac:cxnSpMkLst>
        </pc:cxnChg>
      </pc:sldChg>
      <pc:sldChg chg="add del">
        <pc:chgData name="HALISDEMIR, Ufuk" userId="569d8f73-9a2b-46ed-81f6-ad4d857e353e" providerId="ADAL" clId="{30D53801-0F48-40E0-8B10-CA3462C3EED0}" dt="2022-10-14T13:58:57.718" v="2669" actId="47"/>
        <pc:sldMkLst>
          <pc:docMk/>
          <pc:sldMk cId="4284732011" sldId="1165"/>
        </pc:sldMkLst>
      </pc:sldChg>
      <pc:sldChg chg="addSp delSp modSp add mod ord modTransition">
        <pc:chgData name="HALISDEMIR, Ufuk" userId="569d8f73-9a2b-46ed-81f6-ad4d857e353e" providerId="ADAL" clId="{30D53801-0F48-40E0-8B10-CA3462C3EED0}" dt="2022-10-14T14:26:13.609" v="2680"/>
        <pc:sldMkLst>
          <pc:docMk/>
          <pc:sldMk cId="1857638939" sldId="1166"/>
        </pc:sldMkLst>
        <pc:spChg chg="del">
          <ac:chgData name="HALISDEMIR, Ufuk" userId="569d8f73-9a2b-46ed-81f6-ad4d857e353e" providerId="ADAL" clId="{30D53801-0F48-40E0-8B10-CA3462C3EED0}" dt="2022-10-13T15:13:48.590" v="1970" actId="478"/>
          <ac:spMkLst>
            <pc:docMk/>
            <pc:sldMk cId="1857638939" sldId="1166"/>
            <ac:spMk id="4" creationId="{2FC57848-BE30-4FAD-AA98-336D5BE28ECA}"/>
          </ac:spMkLst>
        </pc:spChg>
        <pc:spChg chg="mod">
          <ac:chgData name="HALISDEMIR, Ufuk" userId="569d8f73-9a2b-46ed-81f6-ad4d857e353e" providerId="ADAL" clId="{30D53801-0F48-40E0-8B10-CA3462C3EED0}" dt="2022-10-13T15:13:39.848" v="1969" actId="20577"/>
          <ac:spMkLst>
            <pc:docMk/>
            <pc:sldMk cId="1857638939" sldId="1166"/>
            <ac:spMk id="5" creationId="{93799071-C668-45D0-BA0C-7D3510B005A2}"/>
          </ac:spMkLst>
        </pc:spChg>
        <pc:spChg chg="add mod">
          <ac:chgData name="HALISDEMIR, Ufuk" userId="569d8f73-9a2b-46ed-81f6-ad4d857e353e" providerId="ADAL" clId="{30D53801-0F48-40E0-8B10-CA3462C3EED0}" dt="2022-10-13T15:18:53.201" v="2076" actId="12"/>
          <ac:spMkLst>
            <pc:docMk/>
            <pc:sldMk cId="1857638939" sldId="1166"/>
            <ac:spMk id="22" creationId="{EA1AE19C-F86E-427D-ADF1-5A2C9642D0F6}"/>
          </ac:spMkLst>
        </pc:spChg>
        <pc:spChg chg="del">
          <ac:chgData name="HALISDEMIR, Ufuk" userId="569d8f73-9a2b-46ed-81f6-ad4d857e353e" providerId="ADAL" clId="{30D53801-0F48-40E0-8B10-CA3462C3EED0}" dt="2022-10-13T15:13:48.590" v="1970" actId="478"/>
          <ac:spMkLst>
            <pc:docMk/>
            <pc:sldMk cId="1857638939" sldId="1166"/>
            <ac:spMk id="27" creationId="{8441B777-AC99-4615-A007-54B33BE5CE3B}"/>
          </ac:spMkLst>
        </pc:spChg>
        <pc:spChg chg="del">
          <ac:chgData name="HALISDEMIR, Ufuk" userId="569d8f73-9a2b-46ed-81f6-ad4d857e353e" providerId="ADAL" clId="{30D53801-0F48-40E0-8B10-CA3462C3EED0}" dt="2022-10-13T15:13:48.590" v="1970" actId="478"/>
          <ac:spMkLst>
            <pc:docMk/>
            <pc:sldMk cId="1857638939" sldId="1166"/>
            <ac:spMk id="28" creationId="{55E88822-7758-4A7E-997D-232AD44E63D0}"/>
          </ac:spMkLst>
        </pc:spChg>
        <pc:spChg chg="del">
          <ac:chgData name="HALISDEMIR, Ufuk" userId="569d8f73-9a2b-46ed-81f6-ad4d857e353e" providerId="ADAL" clId="{30D53801-0F48-40E0-8B10-CA3462C3EED0}" dt="2022-10-13T15:13:48.590" v="1970" actId="478"/>
          <ac:spMkLst>
            <pc:docMk/>
            <pc:sldMk cId="1857638939" sldId="1166"/>
            <ac:spMk id="47" creationId="{6454BFCB-B645-416D-B74F-74FEC80ACD36}"/>
          </ac:spMkLst>
        </pc:spChg>
        <pc:spChg chg="del">
          <ac:chgData name="HALISDEMIR, Ufuk" userId="569d8f73-9a2b-46ed-81f6-ad4d857e353e" providerId="ADAL" clId="{30D53801-0F48-40E0-8B10-CA3462C3EED0}" dt="2022-10-13T15:13:48.590" v="1970" actId="478"/>
          <ac:spMkLst>
            <pc:docMk/>
            <pc:sldMk cId="1857638939" sldId="1166"/>
            <ac:spMk id="48" creationId="{118D6CB6-0E4C-4042-8A13-E5F98B5A5959}"/>
          </ac:spMkLst>
        </pc:spChg>
        <pc:spChg chg="del">
          <ac:chgData name="HALISDEMIR, Ufuk" userId="569d8f73-9a2b-46ed-81f6-ad4d857e353e" providerId="ADAL" clId="{30D53801-0F48-40E0-8B10-CA3462C3EED0}" dt="2022-10-13T15:13:48.590" v="1970" actId="478"/>
          <ac:spMkLst>
            <pc:docMk/>
            <pc:sldMk cId="1857638939" sldId="1166"/>
            <ac:spMk id="51" creationId="{8094FFEC-70C3-4CE5-A284-A8B462094801}"/>
          </ac:spMkLst>
        </pc:spChg>
        <pc:spChg chg="del">
          <ac:chgData name="HALISDEMIR, Ufuk" userId="569d8f73-9a2b-46ed-81f6-ad4d857e353e" providerId="ADAL" clId="{30D53801-0F48-40E0-8B10-CA3462C3EED0}" dt="2022-10-13T15:13:48.590" v="1970" actId="478"/>
          <ac:spMkLst>
            <pc:docMk/>
            <pc:sldMk cId="1857638939" sldId="1166"/>
            <ac:spMk id="52" creationId="{CBBACFF6-FE0E-4478-A08D-4E504A174424}"/>
          </ac:spMkLst>
        </pc:spChg>
        <pc:grpChg chg="del">
          <ac:chgData name="HALISDEMIR, Ufuk" userId="569d8f73-9a2b-46ed-81f6-ad4d857e353e" providerId="ADAL" clId="{30D53801-0F48-40E0-8B10-CA3462C3EED0}" dt="2022-10-13T15:13:48.590" v="1970" actId="478"/>
          <ac:grpSpMkLst>
            <pc:docMk/>
            <pc:sldMk cId="1857638939" sldId="1166"/>
            <ac:grpSpMk id="16" creationId="{A2447BD2-107C-46A2-8496-D2CA4E19BCA8}"/>
          </ac:grpSpMkLst>
        </pc:grpChg>
        <pc:picChg chg="add mod">
          <ac:chgData name="HALISDEMIR, Ufuk" userId="569d8f73-9a2b-46ed-81f6-ad4d857e353e" providerId="ADAL" clId="{30D53801-0F48-40E0-8B10-CA3462C3EED0}" dt="2022-10-14T14:26:13.609" v="2680"/>
          <ac:picMkLst>
            <pc:docMk/>
            <pc:sldMk cId="1857638939" sldId="1166"/>
            <ac:picMk id="4" creationId="{CA7908E6-80DD-468A-9740-1558B62A7C24}"/>
          </ac:picMkLst>
        </pc:picChg>
        <pc:picChg chg="del">
          <ac:chgData name="HALISDEMIR, Ufuk" userId="569d8f73-9a2b-46ed-81f6-ad4d857e353e" providerId="ADAL" clId="{30D53801-0F48-40E0-8B10-CA3462C3EED0}" dt="2022-10-13T15:13:48.590" v="1970" actId="478"/>
          <ac:picMkLst>
            <pc:docMk/>
            <pc:sldMk cId="1857638939" sldId="1166"/>
            <ac:picMk id="6" creationId="{FF329C35-B846-4D91-82BA-3BE8F79472C2}"/>
          </ac:picMkLst>
        </pc:picChg>
        <pc:picChg chg="add mod">
          <ac:chgData name="HALISDEMIR, Ufuk" userId="569d8f73-9a2b-46ed-81f6-ad4d857e353e" providerId="ADAL" clId="{30D53801-0F48-40E0-8B10-CA3462C3EED0}" dt="2022-10-13T15:18:14.012" v="2048" actId="1076"/>
          <ac:picMkLst>
            <pc:docMk/>
            <pc:sldMk cId="1857638939" sldId="1166"/>
            <ac:picMk id="20" creationId="{A5D765CD-43A2-4BAB-BAE8-140171825412}"/>
          </ac:picMkLst>
        </pc:picChg>
        <pc:picChg chg="del">
          <ac:chgData name="HALISDEMIR, Ufuk" userId="569d8f73-9a2b-46ed-81f6-ad4d857e353e" providerId="ADAL" clId="{30D53801-0F48-40E0-8B10-CA3462C3EED0}" dt="2022-10-13T15:13:48.590" v="1970" actId="478"/>
          <ac:picMkLst>
            <pc:docMk/>
            <pc:sldMk cId="1857638939" sldId="1166"/>
            <ac:picMk id="49" creationId="{6E3936DE-2B85-42BF-9929-B9424D4D74BB}"/>
          </ac:picMkLst>
        </pc:picChg>
        <pc:picChg chg="del">
          <ac:chgData name="HALISDEMIR, Ufuk" userId="569d8f73-9a2b-46ed-81f6-ad4d857e353e" providerId="ADAL" clId="{30D53801-0F48-40E0-8B10-CA3462C3EED0}" dt="2022-10-13T15:13:48.590" v="1970" actId="478"/>
          <ac:picMkLst>
            <pc:docMk/>
            <pc:sldMk cId="1857638939" sldId="1166"/>
            <ac:picMk id="50" creationId="{23FF9AF4-077A-4F96-8CDF-C5A3CB225A0C}"/>
          </ac:picMkLst>
        </pc:picChg>
      </pc:sldChg>
      <pc:sldChg chg="addSp delSp modSp add mod modTransition">
        <pc:chgData name="HALISDEMIR, Ufuk" userId="569d8f73-9a2b-46ed-81f6-ad4d857e353e" providerId="ADAL" clId="{30D53801-0F48-40E0-8B10-CA3462C3EED0}" dt="2022-10-14T14:39:50.681" v="2685"/>
        <pc:sldMkLst>
          <pc:docMk/>
          <pc:sldMk cId="812775211" sldId="1167"/>
        </pc:sldMkLst>
        <pc:spChg chg="mod">
          <ac:chgData name="HALISDEMIR, Ufuk" userId="569d8f73-9a2b-46ed-81f6-ad4d857e353e" providerId="ADAL" clId="{30D53801-0F48-40E0-8B10-CA3462C3EED0}" dt="2022-10-13T15:16:23.176" v="1984" actId="20577"/>
          <ac:spMkLst>
            <pc:docMk/>
            <pc:sldMk cId="812775211" sldId="1167"/>
            <ac:spMk id="3" creationId="{4A04CCCB-5A93-4316-BDC5-F8EB102EEE3F}"/>
          </ac:spMkLst>
        </pc:spChg>
        <pc:spChg chg="del mod">
          <ac:chgData name="HALISDEMIR, Ufuk" userId="569d8f73-9a2b-46ed-81f6-ad4d857e353e" providerId="ADAL" clId="{30D53801-0F48-40E0-8B10-CA3462C3EED0}" dt="2022-10-13T15:17:06.589" v="2014" actId="478"/>
          <ac:spMkLst>
            <pc:docMk/>
            <pc:sldMk cId="812775211" sldId="1167"/>
            <ac:spMk id="5" creationId="{93799071-C668-45D0-BA0C-7D3510B005A2}"/>
          </ac:spMkLst>
        </pc:spChg>
        <pc:spChg chg="add del mod">
          <ac:chgData name="HALISDEMIR, Ufuk" userId="569d8f73-9a2b-46ed-81f6-ad4d857e353e" providerId="ADAL" clId="{30D53801-0F48-40E0-8B10-CA3462C3EED0}" dt="2022-10-13T15:17:09.980" v="2015" actId="478"/>
          <ac:spMkLst>
            <pc:docMk/>
            <pc:sldMk cId="812775211" sldId="1167"/>
            <ac:spMk id="6" creationId="{3A9DBC2A-6071-4940-B029-DFD561FE5CCD}"/>
          </ac:spMkLst>
        </pc:spChg>
        <pc:spChg chg="del">
          <ac:chgData name="HALISDEMIR, Ufuk" userId="569d8f73-9a2b-46ed-81f6-ad4d857e353e" providerId="ADAL" clId="{30D53801-0F48-40E0-8B10-CA3462C3EED0}" dt="2022-10-13T15:16:31.694" v="1985" actId="478"/>
          <ac:spMkLst>
            <pc:docMk/>
            <pc:sldMk cId="812775211" sldId="1167"/>
            <ac:spMk id="7" creationId="{196930E6-6A63-43D9-B8C8-4FC06136B947}"/>
          </ac:spMkLst>
        </pc:spChg>
        <pc:spChg chg="del">
          <ac:chgData name="HALISDEMIR, Ufuk" userId="569d8f73-9a2b-46ed-81f6-ad4d857e353e" providerId="ADAL" clId="{30D53801-0F48-40E0-8B10-CA3462C3EED0}" dt="2022-10-13T15:16:31.694" v="1985" actId="478"/>
          <ac:spMkLst>
            <pc:docMk/>
            <pc:sldMk cId="812775211" sldId="1167"/>
            <ac:spMk id="8" creationId="{E9535915-B2F2-43DC-BFE5-68D4D91F11AF}"/>
          </ac:spMkLst>
        </pc:spChg>
        <pc:spChg chg="add mod">
          <ac:chgData name="HALISDEMIR, Ufuk" userId="569d8f73-9a2b-46ed-81f6-ad4d857e353e" providerId="ADAL" clId="{30D53801-0F48-40E0-8B10-CA3462C3EED0}" dt="2022-10-13T15:25:06.789" v="2659" actId="313"/>
          <ac:spMkLst>
            <pc:docMk/>
            <pc:sldMk cId="812775211" sldId="1167"/>
            <ac:spMk id="9" creationId="{BD8F4920-049F-4990-A8FF-C2547CE0C7DD}"/>
          </ac:spMkLst>
        </pc:spChg>
        <pc:spChg chg="del">
          <ac:chgData name="HALISDEMIR, Ufuk" userId="569d8f73-9a2b-46ed-81f6-ad4d857e353e" providerId="ADAL" clId="{30D53801-0F48-40E0-8B10-CA3462C3EED0}" dt="2022-10-13T15:16:31.694" v="1985" actId="478"/>
          <ac:spMkLst>
            <pc:docMk/>
            <pc:sldMk cId="812775211" sldId="1167"/>
            <ac:spMk id="25" creationId="{71446D18-5604-4FD2-8D7F-90A962B714C6}"/>
          </ac:spMkLst>
        </pc:spChg>
        <pc:spChg chg="del">
          <ac:chgData name="HALISDEMIR, Ufuk" userId="569d8f73-9a2b-46ed-81f6-ad4d857e353e" providerId="ADAL" clId="{30D53801-0F48-40E0-8B10-CA3462C3EED0}" dt="2022-10-13T15:16:31.694" v="1985" actId="478"/>
          <ac:spMkLst>
            <pc:docMk/>
            <pc:sldMk cId="812775211" sldId="1167"/>
            <ac:spMk id="26" creationId="{3F2841B9-4BDF-4D49-95EC-8C30CBB52D72}"/>
          </ac:spMkLst>
        </pc:spChg>
        <pc:spChg chg="del">
          <ac:chgData name="HALISDEMIR, Ufuk" userId="569d8f73-9a2b-46ed-81f6-ad4d857e353e" providerId="ADAL" clId="{30D53801-0F48-40E0-8B10-CA3462C3EED0}" dt="2022-10-13T15:16:31.694" v="1985" actId="478"/>
          <ac:spMkLst>
            <pc:docMk/>
            <pc:sldMk cId="812775211" sldId="1167"/>
            <ac:spMk id="29" creationId="{E430C658-F102-4199-9853-EC317252E41B}"/>
          </ac:spMkLst>
        </pc:spChg>
        <pc:spChg chg="del">
          <ac:chgData name="HALISDEMIR, Ufuk" userId="569d8f73-9a2b-46ed-81f6-ad4d857e353e" providerId="ADAL" clId="{30D53801-0F48-40E0-8B10-CA3462C3EED0}" dt="2022-10-13T15:16:31.694" v="1985" actId="478"/>
          <ac:spMkLst>
            <pc:docMk/>
            <pc:sldMk cId="812775211" sldId="1167"/>
            <ac:spMk id="30" creationId="{EF46C130-3587-4E7D-BF24-D2C66BE47D64}"/>
          </ac:spMkLst>
        </pc:spChg>
        <pc:spChg chg="del">
          <ac:chgData name="HALISDEMIR, Ufuk" userId="569d8f73-9a2b-46ed-81f6-ad4d857e353e" providerId="ADAL" clId="{30D53801-0F48-40E0-8B10-CA3462C3EED0}" dt="2022-10-13T15:16:31.694" v="1985" actId="478"/>
          <ac:spMkLst>
            <pc:docMk/>
            <pc:sldMk cId="812775211" sldId="1167"/>
            <ac:spMk id="31" creationId="{F3083D59-7BD8-4702-AF03-679433E94E6F}"/>
          </ac:spMkLst>
        </pc:spChg>
        <pc:spChg chg="del">
          <ac:chgData name="HALISDEMIR, Ufuk" userId="569d8f73-9a2b-46ed-81f6-ad4d857e353e" providerId="ADAL" clId="{30D53801-0F48-40E0-8B10-CA3462C3EED0}" dt="2022-10-13T15:16:31.694" v="1985" actId="478"/>
          <ac:spMkLst>
            <pc:docMk/>
            <pc:sldMk cId="812775211" sldId="1167"/>
            <ac:spMk id="32" creationId="{6CEF1B58-922E-4CEC-A195-74A8C0787484}"/>
          </ac:spMkLst>
        </pc:spChg>
        <pc:spChg chg="del">
          <ac:chgData name="HALISDEMIR, Ufuk" userId="569d8f73-9a2b-46ed-81f6-ad4d857e353e" providerId="ADAL" clId="{30D53801-0F48-40E0-8B10-CA3462C3EED0}" dt="2022-10-13T15:16:31.694" v="1985" actId="478"/>
          <ac:spMkLst>
            <pc:docMk/>
            <pc:sldMk cId="812775211" sldId="1167"/>
            <ac:spMk id="33" creationId="{57C3E581-4F5B-4F0E-81EE-EA6A4324BB45}"/>
          </ac:spMkLst>
        </pc:spChg>
        <pc:spChg chg="del">
          <ac:chgData name="HALISDEMIR, Ufuk" userId="569d8f73-9a2b-46ed-81f6-ad4d857e353e" providerId="ADAL" clId="{30D53801-0F48-40E0-8B10-CA3462C3EED0}" dt="2022-10-13T15:16:31.694" v="1985" actId="478"/>
          <ac:spMkLst>
            <pc:docMk/>
            <pc:sldMk cId="812775211" sldId="1167"/>
            <ac:spMk id="34" creationId="{F01C541E-6E11-49D8-AC0C-A1F05316ECC4}"/>
          </ac:spMkLst>
        </pc:spChg>
        <pc:spChg chg="del">
          <ac:chgData name="HALISDEMIR, Ufuk" userId="569d8f73-9a2b-46ed-81f6-ad4d857e353e" providerId="ADAL" clId="{30D53801-0F48-40E0-8B10-CA3462C3EED0}" dt="2022-10-13T15:16:31.694" v="1985" actId="478"/>
          <ac:spMkLst>
            <pc:docMk/>
            <pc:sldMk cId="812775211" sldId="1167"/>
            <ac:spMk id="35" creationId="{A0A6D5EC-3FBB-48BC-881E-1135A511BBBA}"/>
          </ac:spMkLst>
        </pc:spChg>
        <pc:spChg chg="del">
          <ac:chgData name="HALISDEMIR, Ufuk" userId="569d8f73-9a2b-46ed-81f6-ad4d857e353e" providerId="ADAL" clId="{30D53801-0F48-40E0-8B10-CA3462C3EED0}" dt="2022-10-13T15:16:31.694" v="1985" actId="478"/>
          <ac:spMkLst>
            <pc:docMk/>
            <pc:sldMk cId="812775211" sldId="1167"/>
            <ac:spMk id="36" creationId="{EA16C6A3-9C98-4959-98B2-07BB676AF168}"/>
          </ac:spMkLst>
        </pc:spChg>
        <pc:spChg chg="del">
          <ac:chgData name="HALISDEMIR, Ufuk" userId="569d8f73-9a2b-46ed-81f6-ad4d857e353e" providerId="ADAL" clId="{30D53801-0F48-40E0-8B10-CA3462C3EED0}" dt="2022-10-13T15:16:31.694" v="1985" actId="478"/>
          <ac:spMkLst>
            <pc:docMk/>
            <pc:sldMk cId="812775211" sldId="1167"/>
            <ac:spMk id="47" creationId="{6454BFCB-B645-416D-B74F-74FEC80ACD36}"/>
          </ac:spMkLst>
        </pc:spChg>
        <pc:spChg chg="del">
          <ac:chgData name="HALISDEMIR, Ufuk" userId="569d8f73-9a2b-46ed-81f6-ad4d857e353e" providerId="ADAL" clId="{30D53801-0F48-40E0-8B10-CA3462C3EED0}" dt="2022-10-13T15:16:31.694" v="1985" actId="478"/>
          <ac:spMkLst>
            <pc:docMk/>
            <pc:sldMk cId="812775211" sldId="1167"/>
            <ac:spMk id="48" creationId="{118D6CB6-0E4C-4042-8A13-E5F98B5A5959}"/>
          </ac:spMkLst>
        </pc:spChg>
        <pc:picChg chg="add mod">
          <ac:chgData name="HALISDEMIR, Ufuk" userId="569d8f73-9a2b-46ed-81f6-ad4d857e353e" providerId="ADAL" clId="{30D53801-0F48-40E0-8B10-CA3462C3EED0}" dt="2022-10-14T14:39:50.681" v="2685"/>
          <ac:picMkLst>
            <pc:docMk/>
            <pc:sldMk cId="812775211" sldId="1167"/>
            <ac:picMk id="4" creationId="{871DB1AA-6567-4324-956F-5DBB11CE4574}"/>
          </ac:picMkLst>
        </pc:picChg>
        <pc:picChg chg="del">
          <ac:chgData name="HALISDEMIR, Ufuk" userId="569d8f73-9a2b-46ed-81f6-ad4d857e353e" providerId="ADAL" clId="{30D53801-0F48-40E0-8B10-CA3462C3EED0}" dt="2022-10-13T15:16:31.694" v="1985" actId="478"/>
          <ac:picMkLst>
            <pc:docMk/>
            <pc:sldMk cId="812775211" sldId="1167"/>
            <ac:picMk id="20" creationId="{91A4BC86-195D-46A0-827F-DAC1B9483A6B}"/>
          </ac:picMkLst>
        </pc:picChg>
        <pc:picChg chg="del">
          <ac:chgData name="HALISDEMIR, Ufuk" userId="569d8f73-9a2b-46ed-81f6-ad4d857e353e" providerId="ADAL" clId="{30D53801-0F48-40E0-8B10-CA3462C3EED0}" dt="2022-10-13T15:16:31.694" v="1985" actId="478"/>
          <ac:picMkLst>
            <pc:docMk/>
            <pc:sldMk cId="812775211" sldId="1167"/>
            <ac:picMk id="23" creationId="{ABD219EF-3DCA-4E94-9FFE-A3022DEF9F27}"/>
          </ac:picMkLst>
        </pc:picChg>
        <pc:cxnChg chg="del">
          <ac:chgData name="HALISDEMIR, Ufuk" userId="569d8f73-9a2b-46ed-81f6-ad4d857e353e" providerId="ADAL" clId="{30D53801-0F48-40E0-8B10-CA3462C3EED0}" dt="2022-10-13T15:16:31.694" v="1985" actId="478"/>
          <ac:cxnSpMkLst>
            <pc:docMk/>
            <pc:sldMk cId="812775211" sldId="1167"/>
            <ac:cxnSpMk id="22" creationId="{7E62550B-0CAE-4F64-AF70-72A67818ED3B}"/>
          </ac:cxnSpMkLst>
        </pc:cxnChg>
        <pc:cxnChg chg="del">
          <ac:chgData name="HALISDEMIR, Ufuk" userId="569d8f73-9a2b-46ed-81f6-ad4d857e353e" providerId="ADAL" clId="{30D53801-0F48-40E0-8B10-CA3462C3EED0}" dt="2022-10-13T15:16:31.694" v="1985" actId="478"/>
          <ac:cxnSpMkLst>
            <pc:docMk/>
            <pc:sldMk cId="812775211" sldId="1167"/>
            <ac:cxnSpMk id="24" creationId="{E7F60E72-0DA2-4D1F-9B54-A7C63D520006}"/>
          </ac:cxnSpMkLst>
        </pc:cxnChg>
      </pc:sldChg>
      <pc:sldMasterChg chg="delSldLayout modSldLayout">
        <pc:chgData name="HALISDEMIR, Ufuk" userId="569d8f73-9a2b-46ed-81f6-ad4d857e353e" providerId="ADAL" clId="{30D53801-0F48-40E0-8B10-CA3462C3EED0}" dt="2022-10-13T15:25:43.877" v="2662" actId="47"/>
        <pc:sldMasterMkLst>
          <pc:docMk/>
          <pc:sldMasterMk cId="3148905397" sldId="2147483899"/>
        </pc:sldMasterMkLst>
        <pc:sldLayoutChg chg="del">
          <pc:chgData name="HALISDEMIR, Ufuk" userId="569d8f73-9a2b-46ed-81f6-ad4d857e353e" providerId="ADAL" clId="{30D53801-0F48-40E0-8B10-CA3462C3EED0}" dt="2022-10-13T15:25:43.877" v="2662" actId="47"/>
          <pc:sldLayoutMkLst>
            <pc:docMk/>
            <pc:sldMasterMk cId="3148905397" sldId="2147483899"/>
            <pc:sldLayoutMk cId="639219959" sldId="2147483934"/>
          </pc:sldLayoutMkLst>
        </pc:sldLayoutChg>
        <pc:sldLayoutChg chg="del">
          <pc:chgData name="HALISDEMIR, Ufuk" userId="569d8f73-9a2b-46ed-81f6-ad4d857e353e" providerId="ADAL" clId="{30D53801-0F48-40E0-8B10-CA3462C3EED0}" dt="2022-10-13T15:25:27.440" v="2660" actId="47"/>
          <pc:sldLayoutMkLst>
            <pc:docMk/>
            <pc:sldMasterMk cId="3148905397" sldId="2147483899"/>
            <pc:sldLayoutMk cId="2948220904" sldId="2147483951"/>
          </pc:sldLayoutMkLst>
        </pc:sldLayoutChg>
        <pc:sldLayoutChg chg="modSp mod">
          <pc:chgData name="HALISDEMIR, Ufuk" userId="569d8f73-9a2b-46ed-81f6-ad4d857e353e" providerId="ADAL" clId="{30D53801-0F48-40E0-8B10-CA3462C3EED0}" dt="2022-10-13T14:03:10.407" v="88" actId="20577"/>
          <pc:sldLayoutMkLst>
            <pc:docMk/>
            <pc:sldMasterMk cId="3148905397" sldId="2147483899"/>
            <pc:sldLayoutMk cId="1374317356" sldId="2147483956"/>
          </pc:sldLayoutMkLst>
          <pc:spChg chg="mod">
            <ac:chgData name="HALISDEMIR, Ufuk" userId="569d8f73-9a2b-46ed-81f6-ad4d857e353e" providerId="ADAL" clId="{30D53801-0F48-40E0-8B10-CA3462C3EED0}" dt="2022-10-13T14:03:10.407" v="88" actId="20577"/>
            <ac:spMkLst>
              <pc:docMk/>
              <pc:sldMasterMk cId="3148905397" sldId="2147483899"/>
              <pc:sldLayoutMk cId="1374317356" sldId="2147483956"/>
              <ac:spMk id="4" creationId="{00000000-0000-0000-0000-000000000000}"/>
            </ac:spMkLst>
          </pc:spChg>
        </pc:sldLayoutChg>
        <pc:sldLayoutChg chg="del">
          <pc:chgData name="HALISDEMIR, Ufuk" userId="569d8f73-9a2b-46ed-81f6-ad4d857e353e" providerId="ADAL" clId="{30D53801-0F48-40E0-8B10-CA3462C3EED0}" dt="2022-10-13T14:15:22.748" v="272" actId="47"/>
          <pc:sldLayoutMkLst>
            <pc:docMk/>
            <pc:sldMasterMk cId="3148905397" sldId="2147483899"/>
            <pc:sldLayoutMk cId="450025110" sldId="2147483962"/>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4/10/2022</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14/10/2022</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Ajd</a:t>
            </a:r>
            <a:r>
              <a:rPr lang="fr-FR" dirty="0"/>
              <a:t> je travaille sur</a:t>
            </a:r>
          </a:p>
          <a:p>
            <a:r>
              <a:rPr lang="fr-FR" dirty="0"/>
              <a:t>Je vais profiter de cette présentation pour</a:t>
            </a: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426596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1933276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4150442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827398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5617779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3263969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1638573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20324136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s://www.linkedin.com/company/capgemini-engineering/" TargetMode="External"/><Relationship Id="rId1" Type="http://schemas.openxmlformats.org/officeDocument/2006/relationships/slideMaster" Target="../slideMasters/slideMaster1.xml"/><Relationship Id="rId6" Type="http://schemas.openxmlformats.org/officeDocument/2006/relationships/hyperlink" Target="https://twitter.com/CapgeminiEngFR"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s://www.facebook.com/CapgeminiEngineeringFR"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s://www.linkedin.com/company/capgemini-engineering/"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hyperlink" Target="https://twitter.com/CapgeminiEngFR" TargetMode="External"/><Relationship Id="rId5" Type="http://schemas.openxmlformats.org/officeDocument/2006/relationships/slideMaster" Target="../slideMasters/slideMaster1.xml"/><Relationship Id="rId15" Type="http://schemas.openxmlformats.org/officeDocument/2006/relationships/hyperlink" Target="https://www.facebook.com/CapgeminiEngineeringFR"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fr-FR"/>
              <a:t>Modifiez le style du titre</a:t>
            </a:r>
            <a:endParaRPr lang="en-GB" dirty="0"/>
          </a:p>
        </p:txBody>
      </p:sp>
      <p:pic>
        <p:nvPicPr>
          <p:cNvPr id="11" name="Image 10">
            <a:extLst>
              <a:ext uri="{FF2B5EF4-FFF2-40B4-BE49-F238E27FC236}">
                <a16:creationId xmlns:a16="http://schemas.microsoft.com/office/drawing/2014/main" id="{A8AE6BC1-D482-4FEE-B93D-34AEB21E67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
        <p:nvSpPr>
          <p:cNvPr id="4" name="Espace réservé du pied de page 3"/>
          <p:cNvSpPr>
            <a:spLocks noGrp="1"/>
          </p:cNvSpPr>
          <p:nvPr>
            <p:ph type="ftr" sz="quarter" idx="10"/>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fr-FR"/>
              <a:t>Modifiez le style du titre</a:t>
            </a:r>
            <a:endParaRPr lang="de-DE" dirty="0"/>
          </a:p>
        </p:txBody>
      </p:sp>
      <p:sp>
        <p:nvSpPr>
          <p:cNvPr id="2" name="Espace réservé du pied de page 1"/>
          <p:cNvSpPr>
            <a:spLocks noGrp="1"/>
          </p:cNvSpPr>
          <p:nvPr>
            <p:ph type="ftr" sz="quarter" idx="10"/>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fr-FR"/>
              <a:t>Modifiez le style du titre</a:t>
            </a:r>
            <a:endParaRPr lang="de-DE" dirty="0"/>
          </a:p>
        </p:txBody>
      </p:sp>
      <p:sp>
        <p:nvSpPr>
          <p:cNvPr id="2" name="Espace réservé du pied de page 1"/>
          <p:cNvSpPr>
            <a:spLocks noGrp="1"/>
          </p:cNvSpPr>
          <p:nvPr>
            <p:ph type="ftr" sz="quarter" idx="11"/>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fr-FR"/>
              <a:t>Modifiez le style du titre</a:t>
            </a:r>
            <a:endParaRPr lang="de-DE" dirty="0"/>
          </a:p>
        </p:txBody>
      </p:sp>
      <p:sp>
        <p:nvSpPr>
          <p:cNvPr id="2" name="Espace réservé du pied de page 1"/>
          <p:cNvSpPr>
            <a:spLocks noGrp="1"/>
          </p:cNvSpPr>
          <p:nvPr>
            <p:ph type="ftr" sz="quarter" idx="11"/>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fr-FR"/>
              <a:t>Modifiez le style du titre</a:t>
            </a:r>
            <a:endParaRPr lang="en-GB" dirty="0"/>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dirty="0"/>
              <a:t>INSERT A LABEL/ALBEIT</a:t>
            </a:r>
          </a:p>
        </p:txBody>
      </p:sp>
      <p:sp>
        <p:nvSpPr>
          <p:cNvPr id="4" name="Espace réservé du pied de page 3"/>
          <p:cNvSpPr>
            <a:spLocks noGrp="1"/>
          </p:cNvSpPr>
          <p:nvPr>
            <p:ph type="ftr" sz="quarter" idx="11"/>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fr-FR"/>
              <a:t>Modifiez le style du titre</a:t>
            </a:r>
            <a:endParaRPr lang="en-GB" dirty="0"/>
          </a:p>
        </p:txBody>
      </p:sp>
      <p:sp>
        <p:nvSpPr>
          <p:cNvPr id="3" name="Espace réservé du pied de page 2"/>
          <p:cNvSpPr>
            <a:spLocks noGrp="1"/>
          </p:cNvSpPr>
          <p:nvPr>
            <p:ph type="ftr" sz="quarter" idx="11"/>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1766735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fr-FR"/>
              <a:t>Cliquez sur l'icône pour ajouter une imag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fr-FR"/>
              <a:t>Modifiez le style du titre</a:t>
            </a:r>
            <a:endParaRPr lang="en-GB" dirty="0"/>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Espace réservé du pied de page 2"/>
          <p:cNvSpPr>
            <a:spLocks noGrp="1"/>
          </p:cNvSpPr>
          <p:nvPr>
            <p:ph type="ftr" sz="quarter" idx="13"/>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33843140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
        <p:nvSpPr>
          <p:cNvPr id="2" name="Espace réservé du pied de page 1"/>
          <p:cNvSpPr>
            <a:spLocks noGrp="1"/>
          </p:cNvSpPr>
          <p:nvPr>
            <p:ph type="ftr" sz="quarter" idx="10"/>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2185089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 name="Espace réservé du pied de page 1"/>
          <p:cNvSpPr>
            <a:spLocks noGrp="1"/>
          </p:cNvSpPr>
          <p:nvPr>
            <p:ph type="ftr" sz="quarter" idx="14"/>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573526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dirty="0"/>
              <a:t>Insert Picture and send </a:t>
            </a:r>
            <a:r>
              <a:rPr lang="de-DE" dirty="0" err="1"/>
              <a:t>to</a:t>
            </a:r>
            <a:r>
              <a:rPr lang="de-DE" dirty="0"/>
              <a:t> back</a:t>
            </a:r>
          </a:p>
        </p:txBody>
      </p:sp>
      <p:sp>
        <p:nvSpPr>
          <p:cNvPr id="2" name="Espace réservé du pied de page 1"/>
          <p:cNvSpPr>
            <a:spLocks noGrp="1"/>
          </p:cNvSpPr>
          <p:nvPr>
            <p:ph type="ftr" sz="quarter" idx="14"/>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479705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189663" y="2656136"/>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Engineering est la marque du groupe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réunissant les services d'ingénierie et de R&amp;D d’Altran, leader mondial du secteur dont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a finalisé l’acquisition en 2020, et l’expertise de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dans le domaine du digital </a:t>
            </a:r>
            <a:r>
              <a:rPr lang="fr-FR" sz="900" kern="1200" dirty="0" err="1">
                <a:solidFill>
                  <a:schemeClr val="lt1"/>
                </a:solidFill>
                <a:effectLst/>
                <a:latin typeface="+mn-lt"/>
                <a:ea typeface="+mn-ea"/>
                <a:cs typeface="+mn-cs"/>
              </a:rPr>
              <a:t>manufacturing</a:t>
            </a:r>
            <a:r>
              <a:rPr lang="fr-FR" sz="900" kern="1200" dirty="0">
                <a:solidFill>
                  <a:schemeClr val="lt1"/>
                </a:solidFill>
                <a:effectLst/>
                <a:latin typeface="+mn-lt"/>
                <a:ea typeface="+mn-ea"/>
                <a:cs typeface="+mn-cs"/>
              </a:rPr>
              <a:t>. Grâce à une connaissance sectorielle approfondie et à la maîtrise des technologies digitales et logicielles de pointe,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Engineering accompagne la convergence des mondes physique et numérique. Conjuguée avec l’ensemble des capacités du Groupe, elle aide les entreprises à accélérer leur transformation vers l'Intelligent </a:t>
            </a:r>
            <a:r>
              <a:rPr lang="fr-FR" sz="900" kern="1200" dirty="0" err="1">
                <a:solidFill>
                  <a:schemeClr val="lt1"/>
                </a:solidFill>
                <a:effectLst/>
                <a:latin typeface="+mn-lt"/>
                <a:ea typeface="+mn-ea"/>
                <a:cs typeface="+mn-cs"/>
              </a:rPr>
              <a:t>Industry</a:t>
            </a:r>
            <a:r>
              <a:rPr lang="fr-FR" sz="900" kern="1200" dirty="0">
                <a:solidFill>
                  <a:schemeClr val="lt1"/>
                </a:solidFill>
                <a:effectLst/>
                <a:latin typeface="+mn-lt"/>
                <a:ea typeface="+mn-ea"/>
                <a:cs typeface="+mn-cs"/>
              </a:rPr>
              <a:t>.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Engineering compte plus de 52 000 ingénieurs et scientifiques dans plus de 30 pays, dans des secteurs tels que l'aéronautique, l'automobile, le ferroviaire, les communications, l'énergie, les sciences de la vie, les semi-conducteurs, les logiciels et l'Internet, le spatial et la défense, et les biens de consommation.</a:t>
            </a:r>
          </a:p>
          <a:p>
            <a:pPr algn="just"/>
            <a:endParaRPr lang="fr-FR" sz="900" kern="1200" dirty="0">
              <a:solidFill>
                <a:schemeClr val="lt1"/>
              </a:solidFill>
              <a:effectLst/>
              <a:latin typeface="+mn-lt"/>
              <a:ea typeface="+mn-ea"/>
              <a:cs typeface="+mn-cs"/>
            </a:endParaRPr>
          </a:p>
          <a:p>
            <a:pPr algn="just"/>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Engineering fait partie du groupe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un leader mondial, responsable et multiculturel, regroupant 270 000 personnes dans près de 50 pays. Partenaire stratégique des entreprises pour la transformation de leurs activités en tirant profit de toute la puissance de la technologie, le Groupe est guidé au quotidien par sa raison d’être : libérer les énergies humaines par la technologie pour un avenir inclusif et durable. Fort de plus de 50 ans d’expérience et d’une grande expertise des différents secteurs d’activité,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est reconnu par ses clients pour répondre à l’ensemble de leurs besoins, de la stratégie et du design jusqu’au management des opérations, en tirant parti des innovations dans les domaines en perpétuelle évolution du cloud, de la data, de l’Intelligence Artificielle, de la connectivité, des logiciels, de l’ingénierie digitale et des plateformes. Le Groupe a réalisé un chiffre d'affaires de 16 milliards d'euros en 2020.</a:t>
            </a:r>
          </a:p>
        </p:txBody>
      </p:sp>
      <p:sp>
        <p:nvSpPr>
          <p:cNvPr id="15" name="Rectangle 14"/>
          <p:cNvSpPr/>
          <p:nvPr/>
        </p:nvSpPr>
        <p:spPr>
          <a:xfrm>
            <a:off x="6189662" y="2276872"/>
            <a:ext cx="343472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À propos de </a:t>
            </a:r>
            <a:r>
              <a:rPr lang="en-US" sz="1400" dirty="0" err="1">
                <a:solidFill>
                  <a:schemeClr val="bg1"/>
                </a:solidFill>
                <a:latin typeface="Ubuntu" panose="020B0504030602030204" pitchFamily="34" charset="0"/>
              </a:rPr>
              <a:t>Capgemini</a:t>
            </a:r>
            <a:r>
              <a:rPr lang="en-US" sz="1400" dirty="0">
                <a:solidFill>
                  <a:schemeClr val="bg1"/>
                </a:solidFill>
                <a:latin typeface="Ubuntu" panose="020B0504030602030204" pitchFamily="34" charset="0"/>
              </a:rPr>
              <a:t> Engineering</a:t>
            </a:r>
          </a:p>
        </p:txBody>
      </p:sp>
      <p:sp>
        <p:nvSpPr>
          <p:cNvPr id="16" name="Rectangle 15"/>
          <p:cNvSpPr/>
          <p:nvPr/>
        </p:nvSpPr>
        <p:spPr>
          <a:xfrm>
            <a:off x="6189663" y="5789250"/>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2" name="Image 21">
            <a:extLst>
              <a:ext uri="{FF2B5EF4-FFF2-40B4-BE49-F238E27FC236}">
                <a16:creationId xmlns:a16="http://schemas.microsoft.com/office/drawing/2014/main" id="{E9CD4BEE-AC1B-4828-9AD6-0878E178A2B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fr-FR"/>
              <a:t>Modifiez le style du titre</a:t>
            </a:r>
            <a:endParaRPr lang="en-GB" dirty="0"/>
          </a:p>
        </p:txBody>
      </p:sp>
      <p:pic>
        <p:nvPicPr>
          <p:cNvPr id="9" name="Image 8">
            <a:extLst>
              <a:ext uri="{FF2B5EF4-FFF2-40B4-BE49-F238E27FC236}">
                <a16:creationId xmlns:a16="http://schemas.microsoft.com/office/drawing/2014/main" id="{501B836C-608B-4CFC-BA8A-FAE25C58580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
        <p:nvSpPr>
          <p:cNvPr id="4" name="Espace réservé du pied de page 3"/>
          <p:cNvSpPr>
            <a:spLocks noGrp="1"/>
          </p:cNvSpPr>
          <p:nvPr>
            <p:ph type="ftr" sz="quarter" idx="11"/>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rot="21226509">
            <a:off x="1143292" y="1478132"/>
            <a:ext cx="9702386" cy="5695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60" name="Rectangle 59"/>
          <p:cNvSpPr/>
          <p:nvPr>
            <p:custDataLst>
              <p:tags r:id="rId1"/>
            </p:custDataLst>
          </p:nvPr>
        </p:nvSpPr>
        <p:spPr>
          <a:xfrm>
            <a:off x="6324599"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79805"/>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43730"/>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468B09D-6011-4B56-9735-A05D4E49D101}"/>
              </a:ext>
            </a:extLst>
          </p:cNvPr>
          <p:cNvSpPr/>
          <p:nvPr userDrawn="1"/>
        </p:nvSpPr>
        <p:spPr>
          <a:xfrm>
            <a:off x="404813" y="1447577"/>
            <a:ext cx="501890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Engineering est la marque du groupe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réunissant les services d'ingénierie et de R&amp;D d’Altran, leader mondial du secteur dont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a finalisé l’acquisition en 2020, et l’expertise de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dans le domaine du digital </a:t>
            </a:r>
            <a:r>
              <a:rPr lang="fr-FR" sz="900" kern="1200" dirty="0" err="1">
                <a:solidFill>
                  <a:schemeClr val="lt1"/>
                </a:solidFill>
                <a:effectLst/>
                <a:latin typeface="+mn-lt"/>
                <a:ea typeface="+mn-ea"/>
                <a:cs typeface="+mn-cs"/>
              </a:rPr>
              <a:t>manufacturing</a:t>
            </a:r>
            <a:r>
              <a:rPr lang="fr-FR" sz="900" kern="1200" dirty="0">
                <a:solidFill>
                  <a:schemeClr val="lt1"/>
                </a:solidFill>
                <a:effectLst/>
                <a:latin typeface="+mn-lt"/>
                <a:ea typeface="+mn-ea"/>
                <a:cs typeface="+mn-cs"/>
              </a:rPr>
              <a:t>. Grâce à une connaissance sectorielle approfondie et à la maîtrise des technologies digitales et logicielles de pointe,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Engineering accompagne la convergence des mondes physique et numérique. Conjuguée avec l’ensemble des capacités du Groupe, elle aide les entreprises à accélérer leur transformation vers l'Intelligent </a:t>
            </a:r>
            <a:r>
              <a:rPr lang="fr-FR" sz="900" kern="1200" dirty="0" err="1">
                <a:solidFill>
                  <a:schemeClr val="lt1"/>
                </a:solidFill>
                <a:effectLst/>
                <a:latin typeface="+mn-lt"/>
                <a:ea typeface="+mn-ea"/>
                <a:cs typeface="+mn-cs"/>
              </a:rPr>
              <a:t>Industry</a:t>
            </a:r>
            <a:r>
              <a:rPr lang="fr-FR" sz="900" kern="1200" dirty="0">
                <a:solidFill>
                  <a:schemeClr val="lt1"/>
                </a:solidFill>
                <a:effectLst/>
                <a:latin typeface="+mn-lt"/>
                <a:ea typeface="+mn-ea"/>
                <a:cs typeface="+mn-cs"/>
              </a:rPr>
              <a:t>.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Engineering compte plus de 52 000 ingénieurs et scientifiques dans plus de 30 pays, dans des secteurs tels que l'aéronautique, l'automobile, le ferroviaire, les communications, l'énergie, les sciences de la vie, les semi-conducteurs, les logiciels et l'Internet, le spatial et la défense, et les biens de consommation.</a:t>
            </a:r>
          </a:p>
          <a:p>
            <a:pPr algn="just"/>
            <a:endParaRPr lang="fr-FR" sz="900" kern="1200" dirty="0">
              <a:solidFill>
                <a:schemeClr val="lt1"/>
              </a:solidFill>
              <a:effectLst/>
              <a:latin typeface="+mn-lt"/>
              <a:ea typeface="+mn-ea"/>
              <a:cs typeface="+mn-cs"/>
            </a:endParaRPr>
          </a:p>
          <a:p>
            <a:pPr algn="just"/>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Engineering fait partie du groupe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un leader mondial, responsable et multiculturel, regroupant 270 000 personnes dans près de 50 pays. Partenaire stratégique des entreprises pour la transformation de leurs activités en tirant profit de toute la puissance de la technologie, le Groupe est guidé au quotidien par sa raison d’être : libérer les énergies humaines par la technologie pour un avenir inclusif et durable. Fort de plus de 50 ans d’expérience et d’une grande expertise des différents secteurs d’activité, </a:t>
            </a:r>
            <a:r>
              <a:rPr lang="fr-FR" sz="900" kern="1200" dirty="0" err="1">
                <a:solidFill>
                  <a:schemeClr val="lt1"/>
                </a:solidFill>
                <a:effectLst/>
                <a:latin typeface="+mn-lt"/>
                <a:ea typeface="+mn-ea"/>
                <a:cs typeface="+mn-cs"/>
              </a:rPr>
              <a:t>Capgemini</a:t>
            </a:r>
            <a:r>
              <a:rPr lang="fr-FR" sz="900" kern="1200" dirty="0">
                <a:solidFill>
                  <a:schemeClr val="lt1"/>
                </a:solidFill>
                <a:effectLst/>
                <a:latin typeface="+mn-lt"/>
                <a:ea typeface="+mn-ea"/>
                <a:cs typeface="+mn-cs"/>
              </a:rPr>
              <a:t> est reconnu par ses clients pour répondre à l’ensemble de leurs besoins, de la stratégie et du design jusqu’au management des opérations, en tirant parti des innovations dans les domaines en perpétuelle évolution du cloud, de la data, de l’Intelligence Artificielle, de la connectivité, des logiciels, de l’ingénierie digitale et des plateformes. Le Groupe a réalisé un chiffre d'affaires de 16 milliards d'euros en 2020.</a:t>
            </a:r>
          </a:p>
        </p:txBody>
      </p:sp>
      <p:sp>
        <p:nvSpPr>
          <p:cNvPr id="27" name="Rectangle 26">
            <a:extLst>
              <a:ext uri="{FF2B5EF4-FFF2-40B4-BE49-F238E27FC236}">
                <a16:creationId xmlns:a16="http://schemas.microsoft.com/office/drawing/2014/main" id="{9AD00A87-77BA-46AB-A551-7BD88CF47F24}"/>
              </a:ext>
            </a:extLst>
          </p:cNvPr>
          <p:cNvSpPr/>
          <p:nvPr userDrawn="1"/>
        </p:nvSpPr>
        <p:spPr>
          <a:xfrm>
            <a:off x="404812" y="1068313"/>
            <a:ext cx="3314919" cy="2286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À propos de </a:t>
            </a:r>
            <a:r>
              <a:rPr lang="en-US" sz="1400" dirty="0" err="1">
                <a:solidFill>
                  <a:schemeClr val="bg1"/>
                </a:solidFill>
                <a:latin typeface="Ubuntu" panose="020B0504030602030204" pitchFamily="34" charset="0"/>
              </a:rPr>
              <a:t>Capgemini</a:t>
            </a:r>
            <a:r>
              <a:rPr lang="en-US" sz="1400" dirty="0">
                <a:solidFill>
                  <a:schemeClr val="bg1"/>
                </a:solidFill>
                <a:latin typeface="Ubuntu" panose="020B0504030602030204" pitchFamily="34" charset="0"/>
              </a:rPr>
              <a:t> Engineering</a:t>
            </a:r>
          </a:p>
        </p:txBody>
      </p:sp>
      <p:sp>
        <p:nvSpPr>
          <p:cNvPr id="28" name="Rectangle 27">
            <a:extLst>
              <a:ext uri="{FF2B5EF4-FFF2-40B4-BE49-F238E27FC236}">
                <a16:creationId xmlns:a16="http://schemas.microsoft.com/office/drawing/2014/main" id="{FD222ADB-2B00-4AE2-8AB6-BC8CDF1AC7E1}"/>
              </a:ext>
            </a:extLst>
          </p:cNvPr>
          <p:cNvSpPr/>
          <p:nvPr userDrawn="1"/>
        </p:nvSpPr>
        <p:spPr>
          <a:xfrm>
            <a:off x="404813" y="453387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capgemini-engineering</a:t>
            </a:r>
          </a:p>
        </p:txBody>
      </p:sp>
      <p:pic>
        <p:nvPicPr>
          <p:cNvPr id="29" name="Image 28">
            <a:extLst>
              <a:ext uri="{FF2B5EF4-FFF2-40B4-BE49-F238E27FC236}">
                <a16:creationId xmlns:a16="http://schemas.microsoft.com/office/drawing/2014/main" id="{6A821CDD-5961-4FA5-87E4-74C804B1D08B}"/>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6744013" y="5369182"/>
            <a:ext cx="5040000" cy="1241373"/>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57AF4EB1-5AB5-4D69-B603-BD5E0E5EB29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616265"/>
            <a:ext cx="5040000" cy="1241373"/>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p:txBody>
      </p:sp>
      <p:pic>
        <p:nvPicPr>
          <p:cNvPr id="6" name="Image 5">
            <a:extLst>
              <a:ext uri="{FF2B5EF4-FFF2-40B4-BE49-F238E27FC236}">
                <a16:creationId xmlns:a16="http://schemas.microsoft.com/office/drawing/2014/main" id="{5D00B2F4-B880-4403-995C-72F76AB9E9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4996" y="94849"/>
            <a:ext cx="5040000" cy="1241373"/>
          </a:xfrm>
          <a:prstGeom prst="rect">
            <a:avLst/>
          </a:prstGeom>
        </p:spPr>
      </p:pic>
    </p:spTree>
    <p:extLst>
      <p:ext uri="{BB962C8B-B14F-4D97-AF65-F5344CB8AC3E}">
        <p14:creationId xmlns:p14="http://schemas.microsoft.com/office/powerpoint/2010/main" val="210247364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fr-FR"/>
              <a:t>Modifiez le style du titre</a:t>
            </a:r>
            <a:endParaRPr lang="en-GB" dirty="0"/>
          </a:p>
        </p:txBody>
      </p:sp>
      <p:pic>
        <p:nvPicPr>
          <p:cNvPr id="5" name="Image 4">
            <a:extLst>
              <a:ext uri="{FF2B5EF4-FFF2-40B4-BE49-F238E27FC236}">
                <a16:creationId xmlns:a16="http://schemas.microsoft.com/office/drawing/2014/main" id="{B20902B5-3596-438E-9BA1-2E01D91CB4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972000" y="187155"/>
            <a:ext cx="5220000" cy="1285708"/>
          </a:xfrm>
          <a:prstGeom prst="rect">
            <a:avLst/>
          </a:prstGeom>
        </p:spPr>
      </p:pic>
      <p:sp>
        <p:nvSpPr>
          <p:cNvPr id="4" name="Espace réservé du pied de page 3"/>
          <p:cNvSpPr>
            <a:spLocks noGrp="1"/>
          </p:cNvSpPr>
          <p:nvPr>
            <p:ph type="ftr" sz="quarter" idx="10"/>
          </p:nvPr>
        </p:nvSpPr>
        <p:spPr/>
        <p:txBody>
          <a:bodyPr/>
          <a:lstStyle/>
          <a:p>
            <a:r>
              <a:rPr lang="pt-BR" dirty="0"/>
              <a:t>HEALTHINFO 2022  |  HALISDEMIR Ufuk  |  16-20/10/2022</a:t>
            </a:r>
            <a:endParaRPr lang="fr-FR" dirty="0"/>
          </a:p>
        </p:txBody>
      </p:sp>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fr-FR"/>
              <a:t>Modifiez le style du titre</a:t>
            </a:r>
            <a:endParaRPr lang="en-GB" dirty="0"/>
          </a:p>
        </p:txBody>
      </p:sp>
      <p:sp>
        <p:nvSpPr>
          <p:cNvPr id="2" name="Espace réservé du pied de page 1"/>
          <p:cNvSpPr>
            <a:spLocks noGrp="1"/>
          </p:cNvSpPr>
          <p:nvPr>
            <p:ph type="ftr" sz="quarter" idx="11"/>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dirty="0"/>
          </a:p>
        </p:txBody>
      </p:sp>
      <p:sp>
        <p:nvSpPr>
          <p:cNvPr id="3" name="Espace réservé du pied de page 2"/>
          <p:cNvSpPr>
            <a:spLocks noGrp="1"/>
          </p:cNvSpPr>
          <p:nvPr>
            <p:ph type="ftr" sz="quarter" idx="12"/>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fr-FR"/>
              <a:t>Modifiez le style du titre</a:t>
            </a:r>
            <a:endParaRPr lang="de-DE"/>
          </a:p>
        </p:txBody>
      </p:sp>
      <p:sp>
        <p:nvSpPr>
          <p:cNvPr id="3" name="Espace réservé du pied de page 2"/>
          <p:cNvSpPr>
            <a:spLocks noGrp="1"/>
          </p:cNvSpPr>
          <p:nvPr>
            <p:ph type="ftr" sz="quarter" idx="12"/>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fr-FR"/>
              <a:t>Modifiez le style du titre</a:t>
            </a:r>
            <a:endParaRPr lang="de-DE"/>
          </a:p>
        </p:txBody>
      </p:sp>
      <p:sp>
        <p:nvSpPr>
          <p:cNvPr id="3" name="Espace réservé du pied de page 2"/>
          <p:cNvSpPr>
            <a:spLocks noGrp="1"/>
          </p:cNvSpPr>
          <p:nvPr>
            <p:ph type="ftr" sz="quarter" idx="15"/>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fr-FR"/>
              <a:t>Modifiez le style du titre</a:t>
            </a:r>
            <a:endParaRPr lang="de-DE" dirty="0"/>
          </a:p>
        </p:txBody>
      </p:sp>
      <p:sp>
        <p:nvSpPr>
          <p:cNvPr id="2" name="Espace réservé du pied de page 1"/>
          <p:cNvSpPr>
            <a:spLocks noGrp="1"/>
          </p:cNvSpPr>
          <p:nvPr>
            <p:ph type="ftr" sz="quarter" idx="18"/>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dirty="0"/>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fr-FR"/>
              <a:t>Modifiez le style du titre</a:t>
            </a:r>
            <a:endParaRPr lang="de-DE" dirty="0"/>
          </a:p>
        </p:txBody>
      </p:sp>
      <p:sp>
        <p:nvSpPr>
          <p:cNvPr id="2" name="Espace réservé du pied de page 1"/>
          <p:cNvSpPr>
            <a:spLocks noGrp="1"/>
          </p:cNvSpPr>
          <p:nvPr>
            <p:ph type="ftr" sz="quarter" idx="42"/>
          </p:nvPr>
        </p:nvSpPr>
        <p:spPr/>
        <p:txBody>
          <a:bodyPr/>
          <a:lstStyle/>
          <a:p>
            <a:r>
              <a:rPr lang="fr-FR"/>
              <a:t>HEALTHINFO 2022  |  HALISDEMIR Ufuk  |  16-20/10/2022</a:t>
            </a:r>
            <a:endParaRPr lang="fr-FR" dirty="0"/>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theme" Target="../theme/theme2.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TITLE</a:t>
            </a:r>
            <a:endParaRPr lang="en-US" dirty="0"/>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1</a:t>
              </a:r>
            </a:p>
            <a:p>
              <a:pPr algn="ctr">
                <a:lnSpc>
                  <a:spcPct val="90000"/>
                </a:lnSpc>
                <a:spcAft>
                  <a:spcPts val="0"/>
                </a:spcAft>
              </a:pPr>
              <a:r>
                <a:rPr lang="en-GB" sz="700" dirty="0">
                  <a:latin typeface="Ubuntu" panose="020B0504030602030204" pitchFamily="34" charset="0"/>
                </a:rPr>
                <a:t>112</a:t>
              </a:r>
            </a:p>
            <a:p>
              <a:pPr algn="ctr">
                <a:lnSpc>
                  <a:spcPct val="90000"/>
                </a:lnSpc>
                <a:spcAft>
                  <a:spcPts val="0"/>
                </a:spcAft>
              </a:pPr>
              <a:r>
                <a:rPr lang="en-GB" sz="700" dirty="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18</a:t>
              </a:r>
            </a:p>
            <a:p>
              <a:pPr algn="ctr">
                <a:lnSpc>
                  <a:spcPct val="90000"/>
                </a:lnSpc>
                <a:spcAft>
                  <a:spcPts val="0"/>
                </a:spcAft>
              </a:pPr>
              <a:r>
                <a:rPr lang="en-GB" sz="700" dirty="0">
                  <a:solidFill>
                    <a:schemeClr val="tx1"/>
                  </a:solidFill>
                  <a:latin typeface="Ubuntu" panose="020B0504030602030204" pitchFamily="34" charset="0"/>
                </a:rPr>
                <a:t>171</a:t>
              </a:r>
            </a:p>
            <a:p>
              <a:pPr algn="ctr">
                <a:lnSpc>
                  <a:spcPct val="90000"/>
                </a:lnSpc>
                <a:spcAft>
                  <a:spcPts val="0"/>
                </a:spcAft>
              </a:pPr>
              <a:r>
                <a:rPr lang="en-GB" sz="700" dirty="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43</a:t>
              </a:r>
            </a:p>
            <a:p>
              <a:pPr algn="ctr">
                <a:lnSpc>
                  <a:spcPct val="90000"/>
                </a:lnSpc>
                <a:spcAft>
                  <a:spcPts val="0"/>
                </a:spcAft>
              </a:pPr>
              <a:r>
                <a:rPr lang="en-GB" sz="700" dirty="0">
                  <a:latin typeface="Ubuntu" panose="020B0504030602030204" pitchFamily="34" charset="0"/>
                </a:rPr>
                <a:t>10</a:t>
              </a:r>
            </a:p>
            <a:p>
              <a:pPr algn="ctr">
                <a:lnSpc>
                  <a:spcPct val="90000"/>
                </a:lnSpc>
                <a:spcAft>
                  <a:spcPts val="0"/>
                </a:spcAft>
              </a:pPr>
              <a:r>
                <a:rPr lang="en-GB" sz="700" dirty="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latin typeface="Ubuntu" panose="020B0504030602030204" pitchFamily="34" charset="0"/>
                </a:rPr>
                <a:t>39</a:t>
              </a:r>
            </a:p>
            <a:p>
              <a:pPr algn="ctr">
                <a:lnSpc>
                  <a:spcPct val="90000"/>
                </a:lnSpc>
                <a:spcAft>
                  <a:spcPts val="0"/>
                </a:spcAft>
              </a:pPr>
              <a:r>
                <a:rPr lang="en-GB" sz="700" dirty="0">
                  <a:latin typeface="Ubuntu" panose="020B0504030602030204" pitchFamily="34" charset="0"/>
                </a:rPr>
                <a:t>41</a:t>
              </a:r>
            </a:p>
            <a:p>
              <a:pPr algn="ctr">
                <a:lnSpc>
                  <a:spcPct val="90000"/>
                </a:lnSpc>
                <a:spcAft>
                  <a:spcPts val="0"/>
                </a:spcAft>
              </a:pPr>
              <a:r>
                <a:rPr lang="en-GB" sz="700" dirty="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a:p>
              <a:pPr algn="ctr">
                <a:lnSpc>
                  <a:spcPct val="90000"/>
                </a:lnSpc>
                <a:spcAft>
                  <a:spcPts val="0"/>
                </a:spcAft>
              </a:pPr>
              <a:r>
                <a:rPr lang="en-GB" sz="700" dirty="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42</a:t>
              </a:r>
            </a:p>
            <a:p>
              <a:pPr algn="ctr">
                <a:lnSpc>
                  <a:spcPct val="90000"/>
                </a:lnSpc>
                <a:spcAft>
                  <a:spcPts val="0"/>
                </a:spcAft>
              </a:pPr>
              <a:r>
                <a:rPr lang="en-US" sz="700" dirty="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56</a:t>
              </a:r>
            </a:p>
            <a:p>
              <a:pPr algn="ctr">
                <a:lnSpc>
                  <a:spcPct val="90000"/>
                </a:lnSpc>
                <a:spcAft>
                  <a:spcPts val="0"/>
                </a:spcAft>
              </a:pPr>
              <a:r>
                <a:rPr lang="en-US" sz="700" dirty="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178</a:t>
              </a:r>
            </a:p>
            <a:p>
              <a:pPr algn="ctr">
                <a:lnSpc>
                  <a:spcPct val="90000"/>
                </a:lnSpc>
                <a:spcAft>
                  <a:spcPts val="0"/>
                </a:spcAft>
              </a:pPr>
              <a:r>
                <a:rPr lang="en-US" sz="700" dirty="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08</a:t>
              </a:r>
            </a:p>
            <a:p>
              <a:pPr algn="ctr">
                <a:lnSpc>
                  <a:spcPct val="90000"/>
                </a:lnSpc>
                <a:spcAft>
                  <a:spcPts val="0"/>
                </a:spcAft>
              </a:pPr>
              <a:r>
                <a:rPr lang="en-US" sz="700" dirty="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218</a:t>
              </a:r>
            </a:p>
            <a:p>
              <a:pPr algn="ctr">
                <a:lnSpc>
                  <a:spcPct val="90000"/>
                </a:lnSpc>
                <a:spcAft>
                  <a:spcPts val="0"/>
                </a:spcAft>
              </a:pPr>
              <a:r>
                <a:rPr lang="en-US" sz="700" dirty="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66</a:t>
              </a:r>
            </a:p>
            <a:p>
              <a:pPr algn="ctr">
                <a:lnSpc>
                  <a:spcPct val="90000"/>
                </a:lnSpc>
                <a:spcAft>
                  <a:spcPts val="0"/>
                </a:spcAft>
              </a:pPr>
              <a:r>
                <a:rPr lang="en-US" sz="700" dirty="0">
                  <a:solidFill>
                    <a:schemeClr val="bg1"/>
                  </a:solidFill>
                  <a:latin typeface="Ubuntu" panose="020B0504030602030204" pitchFamily="34" charset="0"/>
                </a:rPr>
                <a:t>20</a:t>
              </a:r>
            </a:p>
            <a:p>
              <a:pPr algn="ctr">
                <a:lnSpc>
                  <a:spcPct val="90000"/>
                </a:lnSpc>
                <a:spcAft>
                  <a:spcPts val="0"/>
                </a:spcAft>
              </a:pPr>
              <a:r>
                <a:rPr lang="en-US" sz="700" dirty="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89</a:t>
              </a:r>
            </a:p>
            <a:p>
              <a:pPr algn="ctr">
                <a:lnSpc>
                  <a:spcPct val="90000"/>
                </a:lnSpc>
                <a:spcAft>
                  <a:spcPts val="0"/>
                </a:spcAft>
              </a:pPr>
              <a:r>
                <a:rPr lang="en-US" sz="700" dirty="0">
                  <a:solidFill>
                    <a:schemeClr val="bg1"/>
                  </a:solidFill>
                  <a:latin typeface="Ubuntu" panose="020B0504030602030204" pitchFamily="34" charset="0"/>
                </a:rPr>
                <a:t>10</a:t>
              </a:r>
            </a:p>
            <a:p>
              <a:pPr algn="ctr">
                <a:lnSpc>
                  <a:spcPct val="90000"/>
                </a:lnSpc>
                <a:spcAft>
                  <a:spcPts val="0"/>
                </a:spcAft>
              </a:pPr>
              <a:r>
                <a:rPr lang="en-US" sz="700" dirty="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17</a:t>
              </a:r>
            </a:p>
            <a:p>
              <a:pPr algn="ctr">
                <a:lnSpc>
                  <a:spcPct val="90000"/>
                </a:lnSpc>
                <a:spcAft>
                  <a:spcPts val="0"/>
                </a:spcAft>
              </a:pPr>
              <a:r>
                <a:rPr lang="en-US" sz="700" dirty="0">
                  <a:solidFill>
                    <a:schemeClr val="bg1"/>
                  </a:solidFill>
                  <a:latin typeface="Ubuntu" panose="020B0504030602030204" pitchFamily="34" charset="0"/>
                </a:rPr>
                <a:t>13</a:t>
              </a:r>
            </a:p>
            <a:p>
              <a:pPr algn="ctr">
                <a:lnSpc>
                  <a:spcPct val="90000"/>
                </a:lnSpc>
                <a:spcAft>
                  <a:spcPts val="0"/>
                </a:spcAft>
              </a:pPr>
              <a:r>
                <a:rPr lang="en-US" sz="700" dirty="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8</a:t>
              </a:r>
            </a:p>
            <a:p>
              <a:pPr algn="ctr">
                <a:lnSpc>
                  <a:spcPct val="90000"/>
                </a:lnSpc>
                <a:spcAft>
                  <a:spcPts val="0"/>
                </a:spcAft>
              </a:pPr>
              <a:r>
                <a:rPr lang="en-US" sz="700" dirty="0">
                  <a:solidFill>
                    <a:schemeClr val="bg1"/>
                  </a:solidFill>
                  <a:latin typeface="Ubuntu" panose="020B0504030602030204" pitchFamily="34" charset="0"/>
                </a:rPr>
                <a:t>43</a:t>
              </a:r>
            </a:p>
            <a:p>
              <a:pPr algn="ctr">
                <a:lnSpc>
                  <a:spcPct val="90000"/>
                </a:lnSpc>
                <a:spcAft>
                  <a:spcPts val="0"/>
                </a:spcAft>
              </a:pPr>
              <a:r>
                <a:rPr lang="en-US" sz="700" dirty="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58</a:t>
              </a:r>
            </a:p>
            <a:p>
              <a:pPr algn="ctr">
                <a:lnSpc>
                  <a:spcPct val="90000"/>
                </a:lnSpc>
                <a:spcAft>
                  <a:spcPts val="0"/>
                </a:spcAft>
              </a:pPr>
              <a:r>
                <a:rPr lang="en-US" sz="700" dirty="0">
                  <a:solidFill>
                    <a:schemeClr val="bg1"/>
                  </a:solidFill>
                  <a:latin typeface="Ubuntu" panose="020B0504030602030204" pitchFamily="34" charset="0"/>
                </a:rPr>
                <a:t>7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6</a:t>
              </a:r>
            </a:p>
            <a:p>
              <a:pPr algn="ctr">
                <a:lnSpc>
                  <a:spcPct val="90000"/>
                </a:lnSpc>
                <a:spcAft>
                  <a:spcPts val="0"/>
                </a:spcAft>
              </a:pPr>
              <a:r>
                <a:rPr lang="en-US" sz="700" dirty="0">
                  <a:solidFill>
                    <a:schemeClr val="bg1"/>
                  </a:solidFill>
                  <a:latin typeface="Ubuntu" panose="020B0504030602030204" pitchFamily="34" charset="0"/>
                </a:rPr>
                <a:t>0</a:t>
              </a:r>
            </a:p>
            <a:p>
              <a:pPr algn="ctr">
                <a:lnSpc>
                  <a:spcPct val="90000"/>
                </a:lnSpc>
                <a:spcAft>
                  <a:spcPts val="0"/>
                </a:spcAft>
              </a:pPr>
              <a:r>
                <a:rPr lang="en-US" sz="700" dirty="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227</a:t>
              </a:r>
            </a:p>
            <a:p>
              <a:pPr algn="ctr">
                <a:lnSpc>
                  <a:spcPct val="90000"/>
                </a:lnSpc>
                <a:spcAft>
                  <a:spcPts val="0"/>
                </a:spcAft>
              </a:pPr>
              <a:r>
                <a:rPr lang="en-US" sz="700" dirty="0">
                  <a:solidFill>
                    <a:schemeClr val="bg1"/>
                  </a:solidFill>
                  <a:latin typeface="Ubuntu" panose="020B0504030602030204" pitchFamily="34" charset="0"/>
                </a:rPr>
                <a:t>03</a:t>
              </a:r>
            </a:p>
            <a:p>
              <a:pPr algn="ctr">
                <a:lnSpc>
                  <a:spcPct val="90000"/>
                </a:lnSpc>
                <a:spcAft>
                  <a:spcPts val="0"/>
                </a:spcAft>
              </a:pPr>
              <a:r>
                <a:rPr lang="en-US" sz="700" dirty="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48</a:t>
              </a:r>
            </a:p>
            <a:p>
              <a:pPr algn="ctr">
                <a:lnSpc>
                  <a:spcPct val="90000"/>
                </a:lnSpc>
                <a:spcAft>
                  <a:spcPts val="0"/>
                </a:spcAft>
              </a:pPr>
              <a:r>
                <a:rPr lang="en-US" sz="700" dirty="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69</a:t>
              </a:r>
            </a:p>
            <a:p>
              <a:pPr algn="ctr">
                <a:lnSpc>
                  <a:spcPct val="90000"/>
                </a:lnSpc>
                <a:spcAft>
                  <a:spcPts val="0"/>
                </a:spcAft>
              </a:pPr>
              <a:r>
                <a:rPr lang="en-US" sz="700" dirty="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55</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29</a:t>
              </a:r>
            </a:p>
            <a:p>
              <a:pPr algn="ctr">
                <a:lnSpc>
                  <a:spcPct val="90000"/>
                </a:lnSpc>
                <a:spcAft>
                  <a:spcPts val="0"/>
                </a:spcAft>
              </a:pPr>
              <a:r>
                <a:rPr lang="en-US" sz="700" dirty="0">
                  <a:solidFill>
                    <a:schemeClr val="bg1"/>
                  </a:solidFill>
                  <a:latin typeface="Ubuntu" panose="020B0504030602030204" pitchFamily="34" charset="0"/>
                </a:rPr>
                <a:t>27</a:t>
              </a:r>
            </a:p>
            <a:p>
              <a:pPr algn="ctr">
                <a:lnSpc>
                  <a:spcPct val="90000"/>
                </a:lnSpc>
                <a:spcAft>
                  <a:spcPts val="0"/>
                </a:spcAft>
              </a:pPr>
              <a:r>
                <a:rPr lang="en-US" sz="700" dirty="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61</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latin typeface="Ubuntu" panose="020B0504030602030204" pitchFamily="34" charset="0"/>
                </a:rPr>
                <a:t>186</a:t>
              </a:r>
            </a:p>
            <a:p>
              <a:pPr algn="ctr">
                <a:lnSpc>
                  <a:spcPct val="90000"/>
                </a:lnSpc>
                <a:spcAft>
                  <a:spcPts val="0"/>
                </a:spcAft>
              </a:pPr>
              <a:r>
                <a:rPr lang="en-US" sz="700" dirty="0">
                  <a:solidFill>
                    <a:schemeClr val="bg1"/>
                  </a:solidFill>
                  <a:latin typeface="Ubuntu" panose="020B0504030602030204" pitchFamily="34" charset="0"/>
                </a:rPr>
                <a:t>41</a:t>
              </a:r>
            </a:p>
            <a:p>
              <a:pPr algn="ctr">
                <a:lnSpc>
                  <a:spcPct val="90000"/>
                </a:lnSpc>
                <a:spcAft>
                  <a:spcPts val="0"/>
                </a:spcAft>
              </a:pPr>
              <a:r>
                <a:rPr lang="en-US" sz="700" dirty="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09</a:t>
              </a:r>
            </a:p>
            <a:p>
              <a:pPr algn="ctr">
                <a:lnSpc>
                  <a:spcPct val="90000"/>
                </a:lnSpc>
                <a:spcAft>
                  <a:spcPts val="0"/>
                </a:spcAft>
              </a:pPr>
              <a:r>
                <a:rPr lang="en-US" sz="700" dirty="0">
                  <a:latin typeface="Ubuntu" panose="020B0504030602030204" pitchFamily="34" charset="0"/>
                </a:rPr>
                <a:t>58</a:t>
              </a:r>
            </a:p>
            <a:p>
              <a:pPr algn="ctr">
                <a:lnSpc>
                  <a:spcPct val="90000"/>
                </a:lnSpc>
                <a:spcAft>
                  <a:spcPts val="0"/>
                </a:spcAft>
              </a:pPr>
              <a:r>
                <a:rPr lang="en-US" sz="700" dirty="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latin typeface="Ubuntu" panose="020B0504030602030204" pitchFamily="34" charset="0"/>
                </a:rPr>
                <a:t>229</a:t>
              </a:r>
            </a:p>
            <a:p>
              <a:pPr algn="ctr">
                <a:lnSpc>
                  <a:spcPct val="90000"/>
                </a:lnSpc>
                <a:spcAft>
                  <a:spcPts val="0"/>
                </a:spcAft>
              </a:pPr>
              <a:r>
                <a:rPr lang="en-US" sz="700" dirty="0">
                  <a:latin typeface="Ubuntu" panose="020B0504030602030204" pitchFamily="34" charset="0"/>
                </a:rPr>
                <a:t>87</a:t>
              </a:r>
            </a:p>
            <a:p>
              <a:pPr algn="ctr">
                <a:lnSpc>
                  <a:spcPct val="90000"/>
                </a:lnSpc>
                <a:spcAft>
                  <a:spcPts val="0"/>
                </a:spcAft>
              </a:pPr>
              <a:r>
                <a:rPr lang="en-US" sz="700" dirty="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dirty="0">
                <a:latin typeface="Ubuntu" panose="020B0504030602030204" pitchFamily="34" charset="0"/>
              </a:rPr>
              <a:t>Security Classification:</a:t>
            </a:r>
          </a:p>
          <a:p>
            <a:r>
              <a:rPr lang="en-GB" sz="800" dirty="0">
                <a:latin typeface="Ubuntu" panose="020B0504030602030204" pitchFamily="34" charset="0"/>
              </a:rPr>
              <a:t>SEC0: Public</a:t>
            </a:r>
          </a:p>
          <a:p>
            <a:r>
              <a:rPr lang="en-GB" sz="800" dirty="0">
                <a:latin typeface="Ubuntu" panose="020B0504030602030204" pitchFamily="34" charset="0"/>
              </a:rPr>
              <a:t>SEC1: Company Confidential</a:t>
            </a:r>
          </a:p>
          <a:p>
            <a:r>
              <a:rPr lang="en-GB" sz="800" dirty="0">
                <a:latin typeface="Ubuntu" panose="020B0504030602030204" pitchFamily="34" charset="0"/>
              </a:rPr>
              <a:t>SEC2: Company Restricted</a:t>
            </a:r>
          </a:p>
          <a:p>
            <a:r>
              <a:rPr lang="en-GB" sz="800" dirty="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67</a:t>
              </a:r>
            </a:p>
            <a:p>
              <a:pPr algn="ctr">
                <a:lnSpc>
                  <a:spcPct val="90000"/>
                </a:lnSpc>
                <a:spcAft>
                  <a:spcPts val="0"/>
                </a:spcAft>
              </a:pPr>
              <a:r>
                <a:rPr lang="en-US" sz="700" b="0" dirty="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06</a:t>
              </a:r>
            </a:p>
            <a:p>
              <a:pPr algn="ctr">
                <a:lnSpc>
                  <a:spcPct val="90000"/>
                </a:lnSpc>
                <a:spcAft>
                  <a:spcPts val="0"/>
                </a:spcAft>
              </a:pPr>
              <a:r>
                <a:rPr lang="en-US" sz="700" b="0" dirty="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15</a:t>
              </a:r>
            </a:p>
            <a:p>
              <a:pPr algn="ctr">
                <a:lnSpc>
                  <a:spcPct val="90000"/>
                </a:lnSpc>
                <a:spcAft>
                  <a:spcPts val="0"/>
                </a:spcAft>
              </a:pPr>
              <a:r>
                <a:rPr lang="en-US" sz="700" b="0" dirty="0">
                  <a:solidFill>
                    <a:schemeClr val="bg1"/>
                  </a:solidFill>
                  <a:latin typeface="Ubuntu" panose="020B0504030602030204" pitchFamily="34" charset="0"/>
                </a:rPr>
                <a:t>135</a:t>
              </a:r>
            </a:p>
            <a:p>
              <a:pPr algn="ctr">
                <a:lnSpc>
                  <a:spcPct val="90000"/>
                </a:lnSpc>
                <a:spcAft>
                  <a:spcPts val="0"/>
                </a:spcAft>
              </a:pPr>
              <a:r>
                <a:rPr lang="en-US" sz="700" b="0" dirty="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78</a:t>
              </a:r>
            </a:p>
            <a:p>
              <a:pPr algn="ctr">
                <a:lnSpc>
                  <a:spcPct val="90000"/>
                </a:lnSpc>
                <a:spcAft>
                  <a:spcPts val="0"/>
                </a:spcAft>
              </a:pPr>
              <a:r>
                <a:rPr lang="en-US" sz="700" b="0" dirty="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44</a:t>
              </a:r>
            </a:p>
            <a:p>
              <a:pPr algn="ctr">
                <a:lnSpc>
                  <a:spcPct val="90000"/>
                </a:lnSpc>
                <a:spcAft>
                  <a:spcPts val="0"/>
                </a:spcAft>
              </a:pPr>
              <a:r>
                <a:rPr lang="en-US" sz="700" b="0" dirty="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140</a:t>
              </a:r>
            </a:p>
            <a:p>
              <a:pPr algn="ctr">
                <a:lnSpc>
                  <a:spcPct val="90000"/>
                </a:lnSpc>
                <a:spcAft>
                  <a:spcPts val="0"/>
                </a:spcAft>
              </a:pPr>
              <a:r>
                <a:rPr lang="en-US" sz="700" b="0" dirty="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46</a:t>
              </a:r>
            </a:p>
            <a:p>
              <a:pPr algn="ctr">
                <a:lnSpc>
                  <a:spcPct val="90000"/>
                </a:lnSpc>
                <a:spcAft>
                  <a:spcPts val="0"/>
                </a:spcAft>
              </a:pPr>
              <a:r>
                <a:rPr lang="en-US" sz="700" b="0" dirty="0">
                  <a:latin typeface="Ubuntu" panose="020B0504030602030204" pitchFamily="34" charset="0"/>
                </a:rPr>
                <a:t>166</a:t>
              </a:r>
            </a:p>
            <a:p>
              <a:pPr algn="ctr">
                <a:lnSpc>
                  <a:spcPct val="90000"/>
                </a:lnSpc>
                <a:spcAft>
                  <a:spcPts val="0"/>
                </a:spcAft>
              </a:pPr>
              <a:r>
                <a:rPr lang="en-US" sz="700" b="0" dirty="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51</a:t>
              </a:r>
            </a:p>
            <a:p>
              <a:pPr algn="ctr">
                <a:lnSpc>
                  <a:spcPct val="90000"/>
                </a:lnSpc>
                <a:spcAft>
                  <a:spcPts val="0"/>
                </a:spcAft>
              </a:pPr>
              <a:r>
                <a:rPr lang="en-US" sz="700" b="0" dirty="0">
                  <a:latin typeface="Ubuntu" panose="020B0504030602030204" pitchFamily="34" charset="0"/>
                </a:rPr>
                <a:t>181</a:t>
              </a:r>
            </a:p>
            <a:p>
              <a:pPr algn="ctr">
                <a:lnSpc>
                  <a:spcPct val="90000"/>
                </a:lnSpc>
                <a:spcAft>
                  <a:spcPts val="0"/>
                </a:spcAft>
              </a:pPr>
              <a:r>
                <a:rPr lang="en-US" sz="700" b="0" dirty="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latin typeface="Ubuntu" panose="020B0504030602030204" pitchFamily="34" charset="0"/>
              </a:endParaRPr>
            </a:p>
            <a:p>
              <a:pPr algn="ctr">
                <a:lnSpc>
                  <a:spcPct val="90000"/>
                </a:lnSpc>
                <a:spcAft>
                  <a:spcPts val="0"/>
                </a:spcAft>
              </a:pPr>
              <a:r>
                <a:rPr lang="en-US" sz="700" b="0" dirty="0">
                  <a:latin typeface="Ubuntu" panose="020B0504030602030204" pitchFamily="34" charset="0"/>
                </a:rPr>
                <a:t>87</a:t>
              </a:r>
            </a:p>
            <a:p>
              <a:pPr algn="ctr">
                <a:lnSpc>
                  <a:spcPct val="90000"/>
                </a:lnSpc>
                <a:spcAft>
                  <a:spcPts val="0"/>
                </a:spcAft>
              </a:pPr>
              <a:r>
                <a:rPr lang="en-US" sz="700" b="0" dirty="0">
                  <a:latin typeface="Ubuntu" panose="020B0504030602030204" pitchFamily="34" charset="0"/>
                </a:rPr>
                <a:t>207</a:t>
              </a:r>
            </a:p>
            <a:p>
              <a:pPr algn="ctr">
                <a:lnSpc>
                  <a:spcPct val="90000"/>
                </a:lnSpc>
                <a:spcAft>
                  <a:spcPts val="0"/>
                </a:spcAft>
              </a:pPr>
              <a:r>
                <a:rPr lang="en-US" sz="700" b="0" dirty="0">
                  <a:latin typeface="Ubuntu" panose="020B0504030602030204" pitchFamily="34" charset="0"/>
                </a:rPr>
                <a:t>128</a:t>
              </a:r>
            </a:p>
            <a:p>
              <a:pPr algn="ctr">
                <a:lnSpc>
                  <a:spcPct val="90000"/>
                </a:lnSpc>
                <a:spcAft>
                  <a:spcPts val="0"/>
                </a:spcAft>
              </a:pPr>
              <a:endParaRPr lang="en-US" sz="700" b="0" dirty="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3</a:t>
              </a:r>
            </a:p>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33</a:t>
              </a:r>
            </a:p>
            <a:p>
              <a:pPr algn="ctr">
                <a:lnSpc>
                  <a:spcPct val="90000"/>
                </a:lnSpc>
                <a:spcAft>
                  <a:spcPts val="0"/>
                </a:spcAft>
              </a:pPr>
              <a:r>
                <a:rPr lang="en-US" sz="700" b="0" dirty="0">
                  <a:solidFill>
                    <a:schemeClr val="bg1"/>
                  </a:solidFill>
                  <a:latin typeface="Ubuntu" panose="020B0504030602030204" pitchFamily="34" charset="0"/>
                </a:rPr>
                <a:t>69</a:t>
              </a:r>
            </a:p>
            <a:p>
              <a:pPr algn="ctr">
                <a:lnSpc>
                  <a:spcPct val="90000"/>
                </a:lnSpc>
                <a:spcAft>
                  <a:spcPts val="0"/>
                </a:spcAft>
              </a:pPr>
              <a:r>
                <a:rPr lang="en-US" sz="700" b="0" dirty="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20</a:t>
              </a:r>
            </a:p>
            <a:p>
              <a:pPr algn="ctr">
                <a:lnSpc>
                  <a:spcPct val="90000"/>
                </a:lnSpc>
                <a:spcAft>
                  <a:spcPts val="0"/>
                </a:spcAft>
              </a:pPr>
              <a:r>
                <a:rPr lang="en-US" sz="700" b="0" dirty="0">
                  <a:solidFill>
                    <a:schemeClr val="bg1"/>
                  </a:solidFill>
                  <a:latin typeface="Ubuntu" panose="020B0504030602030204" pitchFamily="34" charset="0"/>
                </a:rPr>
                <a:t>89</a:t>
              </a:r>
            </a:p>
            <a:p>
              <a:pPr algn="ctr">
                <a:lnSpc>
                  <a:spcPct val="90000"/>
                </a:lnSpc>
                <a:spcAft>
                  <a:spcPts val="0"/>
                </a:spcAft>
              </a:pPr>
              <a:r>
                <a:rPr lang="en-US" sz="700" b="0" dirty="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07</a:t>
              </a:r>
            </a:p>
            <a:p>
              <a:pPr algn="ctr">
                <a:lnSpc>
                  <a:spcPct val="90000"/>
                </a:lnSpc>
                <a:spcAft>
                  <a:spcPts val="0"/>
                </a:spcAft>
              </a:pPr>
              <a:r>
                <a:rPr lang="en-US" sz="700" b="0" dirty="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51</a:t>
              </a:r>
            </a:p>
            <a:p>
              <a:pPr algn="ctr">
                <a:lnSpc>
                  <a:spcPct val="90000"/>
                </a:lnSpc>
                <a:spcAft>
                  <a:spcPts val="0"/>
                </a:spcAft>
              </a:pPr>
              <a:r>
                <a:rPr lang="en-US" sz="700" b="0" dirty="0">
                  <a:solidFill>
                    <a:schemeClr val="bg1"/>
                  </a:solidFill>
                  <a:latin typeface="Ubuntu" panose="020B0504030602030204" pitchFamily="34" charset="0"/>
                </a:rPr>
                <a:t>128</a:t>
              </a:r>
            </a:p>
            <a:p>
              <a:pPr algn="ctr">
                <a:lnSpc>
                  <a:spcPct val="90000"/>
                </a:lnSpc>
                <a:spcAft>
                  <a:spcPts val="0"/>
                </a:spcAft>
              </a:pPr>
              <a:r>
                <a:rPr lang="en-US" sz="700" b="0" dirty="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25</a:t>
              </a:r>
            </a:p>
            <a:p>
              <a:pPr algn="ctr">
                <a:lnSpc>
                  <a:spcPct val="90000"/>
                </a:lnSpc>
                <a:spcAft>
                  <a:spcPts val="0"/>
                </a:spcAft>
              </a:pPr>
              <a:r>
                <a:rPr lang="en-US" sz="700" b="0" dirty="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latin typeface="Ubuntu" panose="020B0504030602030204" pitchFamily="34" charset="0"/>
                </a:rPr>
                <a:t>0</a:t>
              </a:r>
            </a:p>
            <a:p>
              <a:pPr algn="ctr">
                <a:lnSpc>
                  <a:spcPct val="90000"/>
                </a:lnSpc>
                <a:spcAft>
                  <a:spcPts val="0"/>
                </a:spcAft>
              </a:pPr>
              <a:r>
                <a:rPr lang="en-US" sz="700" b="0" dirty="0">
                  <a:solidFill>
                    <a:schemeClr val="bg1"/>
                  </a:solidFill>
                  <a:latin typeface="Ubuntu" panose="020B0504030602030204" pitchFamily="34" charset="0"/>
                </a:rPr>
                <a:t>146</a:t>
              </a:r>
            </a:p>
            <a:p>
              <a:pPr algn="ctr">
                <a:lnSpc>
                  <a:spcPct val="90000"/>
                </a:lnSpc>
                <a:spcAft>
                  <a:spcPts val="0"/>
                </a:spcAft>
              </a:pPr>
              <a:r>
                <a:rPr lang="en-US" sz="700" b="0" dirty="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191</a:t>
              </a:r>
            </a:p>
            <a:p>
              <a:pPr algn="ctr">
                <a:lnSpc>
                  <a:spcPct val="90000"/>
                </a:lnSpc>
                <a:spcAft>
                  <a:spcPts val="0"/>
                </a:spcAft>
              </a:pPr>
              <a:r>
                <a:rPr lang="en-US" sz="700" b="0" dirty="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13</a:t>
              </a:r>
            </a:p>
            <a:p>
              <a:pPr algn="ctr">
                <a:lnSpc>
                  <a:spcPct val="90000"/>
                </a:lnSpc>
                <a:spcAft>
                  <a:spcPts val="0"/>
                </a:spcAft>
              </a:pPr>
              <a:r>
                <a:rPr lang="en-US" sz="700" b="0" dirty="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latin typeface="Ubuntu" panose="020B0504030602030204" pitchFamily="34" charset="0"/>
                </a:rPr>
                <a:t>0</a:t>
              </a:r>
            </a:p>
            <a:p>
              <a:pPr algn="ctr">
                <a:lnSpc>
                  <a:spcPct val="90000"/>
                </a:lnSpc>
                <a:spcAft>
                  <a:spcPts val="0"/>
                </a:spcAft>
              </a:pPr>
              <a:r>
                <a:rPr lang="en-US" sz="700" b="0" dirty="0">
                  <a:latin typeface="Ubuntu" panose="020B0504030602030204" pitchFamily="34" charset="0"/>
                </a:rPr>
                <a:t>230</a:t>
              </a:r>
            </a:p>
            <a:p>
              <a:pPr algn="ctr">
                <a:lnSpc>
                  <a:spcPct val="90000"/>
                </a:lnSpc>
                <a:spcAft>
                  <a:spcPts val="0"/>
                </a:spcAft>
              </a:pPr>
              <a:r>
                <a:rPr lang="en-US" sz="700" b="0" dirty="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a:t>
            </a:r>
            <a:r>
              <a:rPr lang="en-GB" sz="700" baseline="0" dirty="0">
                <a:solidFill>
                  <a:srgbClr val="A6A6A6"/>
                </a:solidFill>
                <a:latin typeface="Ubuntu" panose="020B0504030602030204" pitchFamily="34" charset="0"/>
                <a:cs typeface="Arial" panose="020B0604020202020204" pitchFamily="34" charset="0"/>
              </a:rPr>
              <a:t> </a:t>
            </a:r>
            <a:r>
              <a:rPr lang="en-GB" sz="700" dirty="0">
                <a:solidFill>
                  <a:srgbClr val="A6A6A6"/>
                </a:solidFill>
                <a:latin typeface="Ubuntu" panose="020B0504030602030204" pitchFamily="34" charset="0"/>
                <a:cs typeface="Arial" panose="020B0604020202020204" pitchFamily="34" charset="0"/>
              </a:rPr>
              <a:t>Confidential © Capgemini 2021. All rights reserved  |</a:t>
            </a:r>
          </a:p>
        </p:txBody>
      </p:sp>
      <p:sp>
        <p:nvSpPr>
          <p:cNvPr id="2" name="Espace réservé du pied de page 1"/>
          <p:cNvSpPr>
            <a:spLocks noGrp="1"/>
          </p:cNvSpPr>
          <p:nvPr>
            <p:ph type="ftr" sz="quarter" idx="3"/>
          </p:nvPr>
        </p:nvSpPr>
        <p:spPr>
          <a:xfrm>
            <a:off x="407368" y="6442817"/>
            <a:ext cx="4114800" cy="365125"/>
          </a:xfrm>
          <a:prstGeom prst="rect">
            <a:avLst/>
          </a:prstGeom>
        </p:spPr>
        <p:txBody>
          <a:bodyPr wrap="square" lIns="0" tIns="0" rIns="0" bIns="0" anchor="ctr" anchorCtr="0">
            <a:noAutofit/>
          </a:bodyPr>
          <a:lstStyle>
            <a:lvl1pPr>
              <a:defRPr lang="fr-FR" sz="700" kern="0" dirty="0">
                <a:solidFill>
                  <a:srgbClr val="A6A6A6"/>
                </a:solidFill>
                <a:latin typeface="Ubuntu" panose="020B0504030602030204" pitchFamily="34" charset="0"/>
                <a:cs typeface="Arial" panose="020B0604020202020204" pitchFamily="34" charset="0"/>
              </a:defRPr>
            </a:lvl1pPr>
          </a:lstStyle>
          <a:p>
            <a:r>
              <a:rPr lang="fr-FR"/>
              <a:t>HEALTHINFO 2022  |  HALISDEMIR Ufuk  |  16-20/10/2022</a:t>
            </a:r>
            <a:endParaRPr lang="fr-FR" dirty="0"/>
          </a:p>
        </p:txBody>
      </p:sp>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3954" r:id="rId13"/>
    <p:sldLayoutId id="2147483930" r:id="rId14"/>
    <p:sldLayoutId id="2147483933" r:id="rId15"/>
    <p:sldLayoutId id="2147483961" r:id="rId16"/>
    <p:sldLayoutId id="2147483958" r:id="rId17"/>
    <p:sldLayoutId id="2147483959" r:id="rId18"/>
    <p:sldLayoutId id="2147483918" r:id="rId19"/>
    <p:sldLayoutId id="2147483922" r:id="rId20"/>
    <p:sldLayoutId id="2147483950" r:id="rId21"/>
    <p:sldLayoutId id="2147483952" r:id="rId22"/>
  </p:sldLayoutIdLst>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6E84F7D2-105D-40D2-8684-54D4B7EE4B16}"/>
              </a:ext>
            </a:extLst>
          </p:cNvPr>
          <p:cNvSpPr/>
          <p:nvPr userDrawn="1"/>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1</a:t>
            </a:r>
          </a:p>
          <a:p>
            <a:pPr algn="ctr">
              <a:lnSpc>
                <a:spcPct val="90000"/>
              </a:lnSpc>
              <a:spcAft>
                <a:spcPts val="0"/>
              </a:spcAft>
            </a:pPr>
            <a:r>
              <a:rPr lang="en-GB" sz="700" dirty="0"/>
              <a:t>112</a:t>
            </a:r>
          </a:p>
          <a:p>
            <a:pPr algn="ctr">
              <a:lnSpc>
                <a:spcPct val="90000"/>
              </a:lnSpc>
              <a:spcAft>
                <a:spcPts val="0"/>
              </a:spcAft>
            </a:pPr>
            <a:r>
              <a:rPr lang="en-GB" sz="700" dirty="0"/>
              <a:t>173</a:t>
            </a:r>
          </a:p>
        </p:txBody>
      </p:sp>
      <p:sp>
        <p:nvSpPr>
          <p:cNvPr id="10" name="Rectangle 9">
            <a:extLst>
              <a:ext uri="{FF2B5EF4-FFF2-40B4-BE49-F238E27FC236}">
                <a16:creationId xmlns:a16="http://schemas.microsoft.com/office/drawing/2014/main" id="{6674CD1B-3525-46B2-BAA5-E21DAAAA01B7}"/>
              </a:ext>
            </a:extLst>
          </p:cNvPr>
          <p:cNvSpPr/>
          <p:nvPr userDrawn="1"/>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18</a:t>
            </a:r>
          </a:p>
          <a:p>
            <a:pPr algn="ctr">
              <a:lnSpc>
                <a:spcPct val="90000"/>
              </a:lnSpc>
              <a:spcAft>
                <a:spcPts val="0"/>
              </a:spcAft>
            </a:pPr>
            <a:r>
              <a:rPr lang="en-GB" sz="700" dirty="0">
                <a:solidFill>
                  <a:schemeClr val="tx1"/>
                </a:solidFill>
              </a:rPr>
              <a:t>171</a:t>
            </a:r>
          </a:p>
          <a:p>
            <a:pPr algn="ctr">
              <a:lnSpc>
                <a:spcPct val="90000"/>
              </a:lnSpc>
              <a:spcAft>
                <a:spcPts val="0"/>
              </a:spcAft>
            </a:pPr>
            <a:r>
              <a:rPr lang="en-GB" sz="700" dirty="0">
                <a:solidFill>
                  <a:schemeClr val="tx1"/>
                </a:solidFill>
              </a:rPr>
              <a:t>219</a:t>
            </a:r>
          </a:p>
        </p:txBody>
      </p:sp>
      <p:sp>
        <p:nvSpPr>
          <p:cNvPr id="11" name="Rectangle 10">
            <a:extLst>
              <a:ext uri="{FF2B5EF4-FFF2-40B4-BE49-F238E27FC236}">
                <a16:creationId xmlns:a16="http://schemas.microsoft.com/office/drawing/2014/main" id="{454D7C4E-D5CF-46EC-BB6D-492AECCE429B}"/>
              </a:ext>
            </a:extLst>
          </p:cNvPr>
          <p:cNvSpPr/>
          <p:nvPr userDrawn="1"/>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43</a:t>
            </a:r>
          </a:p>
          <a:p>
            <a:pPr algn="ctr">
              <a:lnSpc>
                <a:spcPct val="90000"/>
              </a:lnSpc>
              <a:spcAft>
                <a:spcPts val="0"/>
              </a:spcAft>
            </a:pPr>
            <a:r>
              <a:rPr lang="en-GB" sz="700" dirty="0"/>
              <a:t>10</a:t>
            </a:r>
          </a:p>
          <a:p>
            <a:pPr algn="ctr">
              <a:lnSpc>
                <a:spcPct val="90000"/>
              </a:lnSpc>
              <a:spcAft>
                <a:spcPts val="0"/>
              </a:spcAft>
            </a:pPr>
            <a:r>
              <a:rPr lang="en-GB" sz="700" dirty="0"/>
              <a:t>61</a:t>
            </a:r>
          </a:p>
        </p:txBody>
      </p:sp>
      <p:sp>
        <p:nvSpPr>
          <p:cNvPr id="12" name="Rectangle 11">
            <a:extLst>
              <a:ext uri="{FF2B5EF4-FFF2-40B4-BE49-F238E27FC236}">
                <a16:creationId xmlns:a16="http://schemas.microsoft.com/office/drawing/2014/main" id="{F838BB57-4C07-4FC1-A63C-CC0F604A7FCC}"/>
              </a:ext>
            </a:extLst>
          </p:cNvPr>
          <p:cNvSpPr/>
          <p:nvPr userDrawn="1"/>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t>39</a:t>
            </a:r>
          </a:p>
          <a:p>
            <a:pPr algn="ctr">
              <a:lnSpc>
                <a:spcPct val="90000"/>
              </a:lnSpc>
              <a:spcAft>
                <a:spcPts val="0"/>
              </a:spcAft>
            </a:pPr>
            <a:r>
              <a:rPr lang="en-GB" sz="700" dirty="0"/>
              <a:t>41</a:t>
            </a:r>
          </a:p>
          <a:p>
            <a:pPr algn="ctr">
              <a:lnSpc>
                <a:spcPct val="90000"/>
              </a:lnSpc>
              <a:spcAft>
                <a:spcPts val="0"/>
              </a:spcAft>
            </a:pPr>
            <a:r>
              <a:rPr lang="en-GB" sz="700" dirty="0"/>
              <a:t>54</a:t>
            </a:r>
          </a:p>
        </p:txBody>
      </p:sp>
      <p:sp>
        <p:nvSpPr>
          <p:cNvPr id="13" name="Rectangle 12">
            <a:extLst>
              <a:ext uri="{FF2B5EF4-FFF2-40B4-BE49-F238E27FC236}">
                <a16:creationId xmlns:a16="http://schemas.microsoft.com/office/drawing/2014/main" id="{DD7B6E98-FB65-49B0-9A8A-698B183CB044}"/>
              </a:ext>
            </a:extLst>
          </p:cNvPr>
          <p:cNvSpPr/>
          <p:nvPr userDrawn="1"/>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a:p>
            <a:pPr algn="ctr">
              <a:lnSpc>
                <a:spcPct val="90000"/>
              </a:lnSpc>
              <a:spcAft>
                <a:spcPts val="0"/>
              </a:spcAft>
            </a:pPr>
            <a:r>
              <a:rPr lang="en-GB" sz="700" dirty="0">
                <a:solidFill>
                  <a:schemeClr val="tx1"/>
                </a:solidFill>
              </a:rPr>
              <a:t>236</a:t>
            </a:r>
          </a:p>
        </p:txBody>
      </p:sp>
      <p:grpSp>
        <p:nvGrpSpPr>
          <p:cNvPr id="14" name="Groupe 13">
            <a:extLst>
              <a:ext uri="{FF2B5EF4-FFF2-40B4-BE49-F238E27FC236}">
                <a16:creationId xmlns:a16="http://schemas.microsoft.com/office/drawing/2014/main" id="{A888B5AD-7B92-4579-B213-8C5CFEB8D1BC}"/>
              </a:ext>
            </a:extLst>
          </p:cNvPr>
          <p:cNvGrpSpPr/>
          <p:nvPr userDrawn="1"/>
        </p:nvGrpSpPr>
        <p:grpSpPr>
          <a:xfrm>
            <a:off x="12500244" y="4582319"/>
            <a:ext cx="1462993" cy="2058800"/>
            <a:chOff x="12432704" y="1992581"/>
            <a:chExt cx="1462993" cy="2058800"/>
          </a:xfrm>
        </p:grpSpPr>
        <p:sp>
          <p:nvSpPr>
            <p:cNvPr id="15" name="Forme libre : forme 14">
              <a:extLst>
                <a:ext uri="{FF2B5EF4-FFF2-40B4-BE49-F238E27FC236}">
                  <a16:creationId xmlns:a16="http://schemas.microsoft.com/office/drawing/2014/main" id="{2DB90E0F-21BC-47C3-97E1-A7DBB8ED3932}"/>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42</a:t>
              </a:r>
            </a:p>
            <a:p>
              <a:pPr algn="ctr">
                <a:lnSpc>
                  <a:spcPct val="90000"/>
                </a:lnSpc>
                <a:spcAft>
                  <a:spcPts val="0"/>
                </a:spcAft>
              </a:pPr>
              <a:r>
                <a:rPr lang="en-US" sz="700" dirty="0"/>
                <a:t>18</a:t>
              </a:r>
            </a:p>
          </p:txBody>
        </p:sp>
        <p:sp>
          <p:nvSpPr>
            <p:cNvPr id="16" name="Forme libre : forme 15">
              <a:extLst>
                <a:ext uri="{FF2B5EF4-FFF2-40B4-BE49-F238E27FC236}">
                  <a16:creationId xmlns:a16="http://schemas.microsoft.com/office/drawing/2014/main" id="{7F4FC78D-D760-4D99-9D36-2648743895AF}"/>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56</a:t>
              </a:r>
            </a:p>
            <a:p>
              <a:pPr algn="ctr">
                <a:lnSpc>
                  <a:spcPct val="90000"/>
                </a:lnSpc>
                <a:spcAft>
                  <a:spcPts val="0"/>
                </a:spcAft>
              </a:pPr>
              <a:r>
                <a:rPr lang="en-US" sz="700" dirty="0"/>
                <a:t>41</a:t>
              </a:r>
            </a:p>
          </p:txBody>
        </p:sp>
        <p:sp>
          <p:nvSpPr>
            <p:cNvPr id="17" name="Forme libre : forme 16">
              <a:extLst>
                <a:ext uri="{FF2B5EF4-FFF2-40B4-BE49-F238E27FC236}">
                  <a16:creationId xmlns:a16="http://schemas.microsoft.com/office/drawing/2014/main" id="{5EB34581-6EB1-4258-A04C-E3043E1FEE2B}"/>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178</a:t>
              </a:r>
            </a:p>
            <a:p>
              <a:pPr algn="ctr">
                <a:lnSpc>
                  <a:spcPct val="90000"/>
                </a:lnSpc>
                <a:spcAft>
                  <a:spcPts val="0"/>
                </a:spcAft>
              </a:pPr>
              <a:r>
                <a:rPr lang="en-US" sz="700" dirty="0"/>
                <a:t>74</a:t>
              </a:r>
            </a:p>
          </p:txBody>
        </p:sp>
        <p:sp>
          <p:nvSpPr>
            <p:cNvPr id="18" name="Forme libre : forme 17">
              <a:extLst>
                <a:ext uri="{FF2B5EF4-FFF2-40B4-BE49-F238E27FC236}">
                  <a16:creationId xmlns:a16="http://schemas.microsoft.com/office/drawing/2014/main" id="{B2B07A2C-C401-493B-BD96-AFFC78E5CE40}"/>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08</a:t>
              </a:r>
            </a:p>
            <a:p>
              <a:pPr algn="ctr">
                <a:lnSpc>
                  <a:spcPct val="90000"/>
                </a:lnSpc>
                <a:spcAft>
                  <a:spcPts val="0"/>
                </a:spcAft>
              </a:pPr>
              <a:r>
                <a:rPr lang="en-US" sz="700" dirty="0"/>
                <a:t>104</a:t>
              </a:r>
            </a:p>
          </p:txBody>
        </p:sp>
        <p:sp>
          <p:nvSpPr>
            <p:cNvPr id="19" name="Forme libre : forme 18">
              <a:extLst>
                <a:ext uri="{FF2B5EF4-FFF2-40B4-BE49-F238E27FC236}">
                  <a16:creationId xmlns:a16="http://schemas.microsoft.com/office/drawing/2014/main" id="{883FD4AE-2A51-4B86-9366-14B559E75766}"/>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218</a:t>
              </a:r>
            </a:p>
            <a:p>
              <a:pPr algn="ctr">
                <a:lnSpc>
                  <a:spcPct val="90000"/>
                </a:lnSpc>
                <a:spcAft>
                  <a:spcPts val="0"/>
                </a:spcAft>
              </a:pPr>
              <a:r>
                <a:rPr lang="en-US" sz="700" dirty="0"/>
                <a:t>128</a:t>
              </a:r>
            </a:p>
          </p:txBody>
        </p:sp>
        <p:sp>
          <p:nvSpPr>
            <p:cNvPr id="20" name="Forme libre : forme 19">
              <a:extLst>
                <a:ext uri="{FF2B5EF4-FFF2-40B4-BE49-F238E27FC236}">
                  <a16:creationId xmlns:a16="http://schemas.microsoft.com/office/drawing/2014/main" id="{8B6124A1-2AEF-4C8C-B795-1C05EEDFDC79}"/>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dirty="0">
                  <a:solidFill>
                    <a:schemeClr val="bg1"/>
                  </a:solidFill>
                </a:rPr>
                <a:t>66</a:t>
              </a:r>
            </a:p>
            <a:p>
              <a:pPr algn="ctr">
                <a:lnSpc>
                  <a:spcPct val="90000"/>
                </a:lnSpc>
                <a:spcAft>
                  <a:spcPts val="0"/>
                </a:spcAft>
              </a:pPr>
              <a:r>
                <a:rPr lang="en-US" sz="700" dirty="0">
                  <a:solidFill>
                    <a:schemeClr val="bg1"/>
                  </a:solidFill>
                </a:rPr>
                <a:t>20</a:t>
              </a:r>
            </a:p>
            <a:p>
              <a:pPr algn="ctr">
                <a:lnSpc>
                  <a:spcPct val="90000"/>
                </a:lnSpc>
                <a:spcAft>
                  <a:spcPts val="0"/>
                </a:spcAft>
              </a:pPr>
              <a:r>
                <a:rPr lang="en-US" sz="700" dirty="0">
                  <a:solidFill>
                    <a:schemeClr val="bg1"/>
                  </a:solidFill>
                </a:rPr>
                <a:t>46</a:t>
              </a:r>
            </a:p>
          </p:txBody>
        </p:sp>
        <p:sp>
          <p:nvSpPr>
            <p:cNvPr id="22" name="Forme libre : forme 21">
              <a:extLst>
                <a:ext uri="{FF2B5EF4-FFF2-40B4-BE49-F238E27FC236}">
                  <a16:creationId xmlns:a16="http://schemas.microsoft.com/office/drawing/2014/main" id="{2BEF451C-60AC-4B29-B934-3A3013D56019}"/>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dirty="0">
                  <a:solidFill>
                    <a:schemeClr val="bg1"/>
                  </a:solidFill>
                </a:rPr>
                <a:t>89</a:t>
              </a:r>
            </a:p>
            <a:p>
              <a:pPr algn="ctr">
                <a:lnSpc>
                  <a:spcPct val="90000"/>
                </a:lnSpc>
                <a:spcAft>
                  <a:spcPts val="0"/>
                </a:spcAft>
              </a:pPr>
              <a:r>
                <a:rPr lang="en-US" sz="700" dirty="0">
                  <a:solidFill>
                    <a:schemeClr val="bg1"/>
                  </a:solidFill>
                </a:rPr>
                <a:t>10</a:t>
              </a:r>
            </a:p>
            <a:p>
              <a:pPr algn="ctr">
                <a:lnSpc>
                  <a:spcPct val="90000"/>
                </a:lnSpc>
                <a:spcAft>
                  <a:spcPts val="0"/>
                </a:spcAft>
              </a:pPr>
              <a:r>
                <a:rPr lang="en-US" sz="700" dirty="0">
                  <a:solidFill>
                    <a:schemeClr val="bg1"/>
                  </a:solidFill>
                </a:rPr>
                <a:t>66</a:t>
              </a:r>
            </a:p>
          </p:txBody>
        </p:sp>
        <p:sp>
          <p:nvSpPr>
            <p:cNvPr id="23" name="Forme libre : forme 22">
              <a:extLst>
                <a:ext uri="{FF2B5EF4-FFF2-40B4-BE49-F238E27FC236}">
                  <a16:creationId xmlns:a16="http://schemas.microsoft.com/office/drawing/2014/main" id="{BB330BFE-3E92-475F-B97F-80DD88A81E57}"/>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dirty="0">
                  <a:solidFill>
                    <a:schemeClr val="bg1"/>
                  </a:solidFill>
                </a:rPr>
                <a:t>117</a:t>
              </a:r>
            </a:p>
            <a:p>
              <a:pPr algn="ctr">
                <a:lnSpc>
                  <a:spcPct val="90000"/>
                </a:lnSpc>
                <a:spcAft>
                  <a:spcPts val="0"/>
                </a:spcAft>
              </a:pPr>
              <a:r>
                <a:rPr lang="en-US" sz="700" dirty="0">
                  <a:solidFill>
                    <a:schemeClr val="bg1"/>
                  </a:solidFill>
                </a:rPr>
                <a:t>13</a:t>
              </a:r>
            </a:p>
            <a:p>
              <a:pPr algn="ctr">
                <a:lnSpc>
                  <a:spcPct val="90000"/>
                </a:lnSpc>
                <a:spcAft>
                  <a:spcPts val="0"/>
                </a:spcAft>
              </a:pPr>
              <a:r>
                <a:rPr lang="en-US" sz="700" dirty="0">
                  <a:solidFill>
                    <a:schemeClr val="bg1"/>
                  </a:solidFill>
                </a:rPr>
                <a:t>92</a:t>
              </a:r>
            </a:p>
          </p:txBody>
        </p:sp>
        <p:sp>
          <p:nvSpPr>
            <p:cNvPr id="24" name="Forme libre : forme 23">
              <a:extLst>
                <a:ext uri="{FF2B5EF4-FFF2-40B4-BE49-F238E27FC236}">
                  <a16:creationId xmlns:a16="http://schemas.microsoft.com/office/drawing/2014/main" id="{06E05F2E-470A-4ECB-90F9-31154169905D}"/>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dirty="0">
                  <a:solidFill>
                    <a:schemeClr val="bg1"/>
                  </a:solidFill>
                </a:rPr>
                <a:t>128</a:t>
              </a:r>
            </a:p>
            <a:p>
              <a:pPr algn="ctr">
                <a:lnSpc>
                  <a:spcPct val="90000"/>
                </a:lnSpc>
                <a:spcAft>
                  <a:spcPts val="0"/>
                </a:spcAft>
              </a:pPr>
              <a:r>
                <a:rPr lang="en-US" sz="700" dirty="0">
                  <a:solidFill>
                    <a:schemeClr val="bg1"/>
                  </a:solidFill>
                </a:rPr>
                <a:t>43</a:t>
              </a:r>
            </a:p>
            <a:p>
              <a:pPr algn="ctr">
                <a:lnSpc>
                  <a:spcPct val="90000"/>
                </a:lnSpc>
                <a:spcAft>
                  <a:spcPts val="0"/>
                </a:spcAft>
              </a:pPr>
              <a:r>
                <a:rPr lang="en-US" sz="700" dirty="0">
                  <a:solidFill>
                    <a:schemeClr val="bg1"/>
                  </a:solidFill>
                </a:rPr>
                <a:t>115</a:t>
              </a:r>
            </a:p>
          </p:txBody>
        </p:sp>
        <p:sp>
          <p:nvSpPr>
            <p:cNvPr id="25" name="Forme libre : forme 24">
              <a:extLst>
                <a:ext uri="{FF2B5EF4-FFF2-40B4-BE49-F238E27FC236}">
                  <a16:creationId xmlns:a16="http://schemas.microsoft.com/office/drawing/2014/main" id="{31E1100C-32A2-49E9-87B4-FF8DB29E1B09}"/>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dirty="0">
                  <a:solidFill>
                    <a:schemeClr val="bg1"/>
                  </a:solidFill>
                </a:rPr>
                <a:t>158</a:t>
              </a:r>
            </a:p>
            <a:p>
              <a:pPr algn="ctr">
                <a:lnSpc>
                  <a:spcPct val="90000"/>
                </a:lnSpc>
                <a:spcAft>
                  <a:spcPts val="0"/>
                </a:spcAft>
              </a:pPr>
              <a:r>
                <a:rPr lang="en-US" sz="700" dirty="0">
                  <a:solidFill>
                    <a:schemeClr val="bg1"/>
                  </a:solidFill>
                </a:rPr>
                <a:t>71</a:t>
              </a:r>
            </a:p>
            <a:p>
              <a:pPr algn="ctr">
                <a:lnSpc>
                  <a:spcPct val="90000"/>
                </a:lnSpc>
                <a:spcAft>
                  <a:spcPts val="0"/>
                </a:spcAft>
              </a:pPr>
              <a:r>
                <a:rPr lang="en-US" sz="700" dirty="0">
                  <a:solidFill>
                    <a:schemeClr val="bg1"/>
                  </a:solidFill>
                </a:rPr>
                <a:t>128</a:t>
              </a:r>
            </a:p>
          </p:txBody>
        </p:sp>
        <p:sp>
          <p:nvSpPr>
            <p:cNvPr id="26" name="Forme libre : forme 25">
              <a:extLst>
                <a:ext uri="{FF2B5EF4-FFF2-40B4-BE49-F238E27FC236}">
                  <a16:creationId xmlns:a16="http://schemas.microsoft.com/office/drawing/2014/main" id="{761E6E7F-81C3-422A-9187-67D6AD855F6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dirty="0">
                  <a:solidFill>
                    <a:schemeClr val="bg1"/>
                  </a:solidFill>
                </a:rPr>
                <a:t>166</a:t>
              </a:r>
            </a:p>
            <a:p>
              <a:pPr algn="ctr">
                <a:lnSpc>
                  <a:spcPct val="90000"/>
                </a:lnSpc>
                <a:spcAft>
                  <a:spcPts val="0"/>
                </a:spcAft>
              </a:pPr>
              <a:r>
                <a:rPr lang="en-US" sz="700" dirty="0">
                  <a:solidFill>
                    <a:schemeClr val="bg1"/>
                  </a:solidFill>
                </a:rPr>
                <a:t>0</a:t>
              </a:r>
            </a:p>
            <a:p>
              <a:pPr algn="ctr">
                <a:lnSpc>
                  <a:spcPct val="90000"/>
                </a:lnSpc>
                <a:spcAft>
                  <a:spcPts val="0"/>
                </a:spcAft>
              </a:pPr>
              <a:r>
                <a:rPr lang="en-US" sz="700" dirty="0">
                  <a:solidFill>
                    <a:schemeClr val="bg1"/>
                  </a:solidFill>
                </a:rPr>
                <a:t>26</a:t>
              </a:r>
            </a:p>
          </p:txBody>
        </p:sp>
        <p:sp>
          <p:nvSpPr>
            <p:cNvPr id="27" name="Forme libre : forme 26">
              <a:extLst>
                <a:ext uri="{FF2B5EF4-FFF2-40B4-BE49-F238E27FC236}">
                  <a16:creationId xmlns:a16="http://schemas.microsoft.com/office/drawing/2014/main" id="{F6AC8EC5-2272-4607-91DE-8B0C2EA9C9E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dirty="0">
                  <a:solidFill>
                    <a:schemeClr val="bg1"/>
                  </a:solidFill>
                </a:rPr>
                <a:t>227</a:t>
              </a:r>
            </a:p>
            <a:p>
              <a:pPr algn="ctr">
                <a:lnSpc>
                  <a:spcPct val="90000"/>
                </a:lnSpc>
                <a:spcAft>
                  <a:spcPts val="0"/>
                </a:spcAft>
              </a:pPr>
              <a:r>
                <a:rPr lang="en-US" sz="700" dirty="0">
                  <a:solidFill>
                    <a:schemeClr val="bg1"/>
                  </a:solidFill>
                </a:rPr>
                <a:t>03</a:t>
              </a:r>
            </a:p>
            <a:p>
              <a:pPr algn="ctr">
                <a:lnSpc>
                  <a:spcPct val="90000"/>
                </a:lnSpc>
                <a:spcAft>
                  <a:spcPts val="0"/>
                </a:spcAft>
              </a:pPr>
              <a:r>
                <a:rPr lang="en-US" sz="700" dirty="0">
                  <a:solidFill>
                    <a:schemeClr val="bg1"/>
                  </a:solidFill>
                </a:rPr>
                <a:t>33</a:t>
              </a:r>
            </a:p>
          </p:txBody>
        </p:sp>
        <p:sp>
          <p:nvSpPr>
            <p:cNvPr id="28" name="Forme libre : forme 27">
              <a:extLst>
                <a:ext uri="{FF2B5EF4-FFF2-40B4-BE49-F238E27FC236}">
                  <a16:creationId xmlns:a16="http://schemas.microsoft.com/office/drawing/2014/main" id="{AE7E4BDC-12AC-4E45-A544-F1D3CAFD0114}"/>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48</a:t>
              </a:r>
            </a:p>
            <a:p>
              <a:pPr algn="ctr">
                <a:lnSpc>
                  <a:spcPct val="90000"/>
                </a:lnSpc>
                <a:spcAft>
                  <a:spcPts val="0"/>
                </a:spcAft>
              </a:pPr>
              <a:r>
                <a:rPr lang="en-US" sz="700" dirty="0"/>
                <a:t>77</a:t>
              </a:r>
            </a:p>
          </p:txBody>
        </p:sp>
        <p:sp>
          <p:nvSpPr>
            <p:cNvPr id="29" name="Forme libre : forme 28">
              <a:extLst>
                <a:ext uri="{FF2B5EF4-FFF2-40B4-BE49-F238E27FC236}">
                  <a16:creationId xmlns:a16="http://schemas.microsoft.com/office/drawing/2014/main" id="{21562F06-1455-4AEC-9BE2-E10D7D6D29F2}"/>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69</a:t>
              </a:r>
            </a:p>
            <a:p>
              <a:pPr algn="ctr">
                <a:lnSpc>
                  <a:spcPct val="90000"/>
                </a:lnSpc>
                <a:spcAft>
                  <a:spcPts val="0"/>
                </a:spcAft>
              </a:pPr>
              <a:r>
                <a:rPr lang="en-US" sz="700" dirty="0"/>
                <a:t>94</a:t>
              </a:r>
            </a:p>
          </p:txBody>
        </p:sp>
        <p:sp>
          <p:nvSpPr>
            <p:cNvPr id="30" name="Forme libre : forme 29">
              <a:extLst>
                <a:ext uri="{FF2B5EF4-FFF2-40B4-BE49-F238E27FC236}">
                  <a16:creationId xmlns:a16="http://schemas.microsoft.com/office/drawing/2014/main" id="{D574C07B-B590-4D86-9084-8434CBF3897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dirty="0"/>
                <a:t>255</a:t>
              </a:r>
            </a:p>
            <a:p>
              <a:pPr algn="ctr">
                <a:lnSpc>
                  <a:spcPct val="90000"/>
                </a:lnSpc>
                <a:spcAft>
                  <a:spcPts val="0"/>
                </a:spcAft>
              </a:pPr>
              <a:r>
                <a:rPr lang="en-US" sz="700" dirty="0"/>
                <a:t>87</a:t>
              </a:r>
            </a:p>
            <a:p>
              <a:pPr algn="ctr">
                <a:lnSpc>
                  <a:spcPct val="90000"/>
                </a:lnSpc>
                <a:spcAft>
                  <a:spcPts val="0"/>
                </a:spcAft>
              </a:pPr>
              <a:r>
                <a:rPr lang="en-US" sz="700" dirty="0"/>
                <a:t>112</a:t>
              </a:r>
            </a:p>
          </p:txBody>
        </p:sp>
        <p:sp>
          <p:nvSpPr>
            <p:cNvPr id="31" name="Forme libre : forme 30">
              <a:extLst>
                <a:ext uri="{FF2B5EF4-FFF2-40B4-BE49-F238E27FC236}">
                  <a16:creationId xmlns:a16="http://schemas.microsoft.com/office/drawing/2014/main" id="{3BD8DAAB-36E6-41B5-AADE-DFE41A9C9027}"/>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dirty="0">
                  <a:solidFill>
                    <a:schemeClr val="bg1"/>
                  </a:solidFill>
                </a:rPr>
                <a:t>129</a:t>
              </a:r>
            </a:p>
            <a:p>
              <a:pPr algn="ctr">
                <a:lnSpc>
                  <a:spcPct val="90000"/>
                </a:lnSpc>
                <a:spcAft>
                  <a:spcPts val="0"/>
                </a:spcAft>
              </a:pPr>
              <a:r>
                <a:rPr lang="en-US" sz="700" dirty="0">
                  <a:solidFill>
                    <a:schemeClr val="bg1"/>
                  </a:solidFill>
                </a:rPr>
                <a:t>27</a:t>
              </a:r>
            </a:p>
            <a:p>
              <a:pPr algn="ctr">
                <a:lnSpc>
                  <a:spcPct val="90000"/>
                </a:lnSpc>
                <a:spcAft>
                  <a:spcPts val="0"/>
                </a:spcAft>
              </a:pPr>
              <a:r>
                <a:rPr lang="en-US" sz="700" dirty="0">
                  <a:solidFill>
                    <a:schemeClr val="bg1"/>
                  </a:solidFill>
                </a:rPr>
                <a:t>111</a:t>
              </a:r>
            </a:p>
          </p:txBody>
        </p:sp>
        <p:sp>
          <p:nvSpPr>
            <p:cNvPr id="32" name="Forme libre : forme 31">
              <a:extLst>
                <a:ext uri="{FF2B5EF4-FFF2-40B4-BE49-F238E27FC236}">
                  <a16:creationId xmlns:a16="http://schemas.microsoft.com/office/drawing/2014/main" id="{F37B4E60-30C6-45F4-894D-44DBD9C5FEDC}"/>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61</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3" name="Forme libre : forme 32">
              <a:extLst>
                <a:ext uri="{FF2B5EF4-FFF2-40B4-BE49-F238E27FC236}">
                  <a16:creationId xmlns:a16="http://schemas.microsoft.com/office/drawing/2014/main" id="{174A02C6-BC47-48E7-9DA9-F5969E31EA9B}"/>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dirty="0">
                  <a:solidFill>
                    <a:schemeClr val="bg1"/>
                  </a:solidFill>
                </a:rPr>
                <a:t>186</a:t>
              </a:r>
            </a:p>
            <a:p>
              <a:pPr algn="ctr">
                <a:lnSpc>
                  <a:spcPct val="90000"/>
                </a:lnSpc>
                <a:spcAft>
                  <a:spcPts val="0"/>
                </a:spcAft>
              </a:pPr>
              <a:r>
                <a:rPr lang="en-US" sz="700" dirty="0">
                  <a:solidFill>
                    <a:schemeClr val="bg1"/>
                  </a:solidFill>
                </a:rPr>
                <a:t>41</a:t>
              </a:r>
            </a:p>
            <a:p>
              <a:pPr algn="ctr">
                <a:lnSpc>
                  <a:spcPct val="90000"/>
                </a:lnSpc>
                <a:spcAft>
                  <a:spcPts val="0"/>
                </a:spcAft>
              </a:pPr>
              <a:r>
                <a:rPr lang="en-US" sz="700" dirty="0">
                  <a:solidFill>
                    <a:schemeClr val="bg1"/>
                  </a:solidFill>
                </a:rPr>
                <a:t>128</a:t>
              </a:r>
            </a:p>
          </p:txBody>
        </p:sp>
        <p:sp>
          <p:nvSpPr>
            <p:cNvPr id="34" name="Forme libre : forme 33">
              <a:extLst>
                <a:ext uri="{FF2B5EF4-FFF2-40B4-BE49-F238E27FC236}">
                  <a16:creationId xmlns:a16="http://schemas.microsoft.com/office/drawing/2014/main" id="{7F978581-8BA5-4327-ACCF-D23BD9C30262}"/>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dirty="0"/>
                <a:t>209</a:t>
              </a:r>
            </a:p>
            <a:p>
              <a:pPr algn="ctr">
                <a:lnSpc>
                  <a:spcPct val="90000"/>
                </a:lnSpc>
                <a:spcAft>
                  <a:spcPts val="0"/>
                </a:spcAft>
              </a:pPr>
              <a:r>
                <a:rPr lang="en-US" sz="700" dirty="0"/>
                <a:t>58</a:t>
              </a:r>
            </a:p>
            <a:p>
              <a:pPr algn="ctr">
                <a:lnSpc>
                  <a:spcPct val="90000"/>
                </a:lnSpc>
                <a:spcAft>
                  <a:spcPts val="0"/>
                </a:spcAft>
              </a:pPr>
              <a:r>
                <a:rPr lang="en-US" sz="700" dirty="0"/>
                <a:t>140</a:t>
              </a:r>
            </a:p>
          </p:txBody>
        </p:sp>
        <p:sp>
          <p:nvSpPr>
            <p:cNvPr id="35" name="Forme libre : forme 34">
              <a:extLst>
                <a:ext uri="{FF2B5EF4-FFF2-40B4-BE49-F238E27FC236}">
                  <a16:creationId xmlns:a16="http://schemas.microsoft.com/office/drawing/2014/main" id="{F035DD25-7BE4-4C64-AC77-EB8A30E81461}"/>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dirty="0"/>
                <a:t>229</a:t>
              </a:r>
            </a:p>
            <a:p>
              <a:pPr algn="ctr">
                <a:lnSpc>
                  <a:spcPct val="90000"/>
                </a:lnSpc>
                <a:spcAft>
                  <a:spcPts val="0"/>
                </a:spcAft>
              </a:pPr>
              <a:r>
                <a:rPr lang="en-US" sz="700" dirty="0"/>
                <a:t>87</a:t>
              </a:r>
            </a:p>
            <a:p>
              <a:pPr algn="ctr">
                <a:lnSpc>
                  <a:spcPct val="90000"/>
                </a:lnSpc>
                <a:spcAft>
                  <a:spcPts val="0"/>
                </a:spcAft>
              </a:pPr>
              <a:r>
                <a:rPr lang="en-US" sz="700" dirty="0"/>
                <a:t>173</a:t>
              </a:r>
            </a:p>
          </p:txBody>
        </p:sp>
      </p:grpSp>
      <p:grpSp>
        <p:nvGrpSpPr>
          <p:cNvPr id="36" name="Groupe 35">
            <a:extLst>
              <a:ext uri="{FF2B5EF4-FFF2-40B4-BE49-F238E27FC236}">
                <a16:creationId xmlns:a16="http://schemas.microsoft.com/office/drawing/2014/main" id="{F8BD562A-C55A-4203-A4A2-5B6DF517FC63}"/>
              </a:ext>
            </a:extLst>
          </p:cNvPr>
          <p:cNvGrpSpPr/>
          <p:nvPr userDrawn="1"/>
        </p:nvGrpSpPr>
        <p:grpSpPr>
          <a:xfrm>
            <a:off x="12498114" y="2399137"/>
            <a:ext cx="1465123" cy="2058800"/>
            <a:chOff x="14041053" y="1992581"/>
            <a:chExt cx="1465123" cy="2058800"/>
          </a:xfrm>
        </p:grpSpPr>
        <p:sp>
          <p:nvSpPr>
            <p:cNvPr id="37" name="Forme libre : forme 36">
              <a:extLst>
                <a:ext uri="{FF2B5EF4-FFF2-40B4-BE49-F238E27FC236}">
                  <a16:creationId xmlns:a16="http://schemas.microsoft.com/office/drawing/2014/main" id="{8CE8E1E3-B6E5-4BC5-B8A1-84C8A74CC026}"/>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67</a:t>
              </a:r>
            </a:p>
            <a:p>
              <a:pPr algn="ctr">
                <a:lnSpc>
                  <a:spcPct val="90000"/>
                </a:lnSpc>
                <a:spcAft>
                  <a:spcPts val="0"/>
                </a:spcAft>
              </a:pPr>
              <a:r>
                <a:rPr lang="en-US" sz="700" b="0" dirty="0">
                  <a:solidFill>
                    <a:schemeClr val="bg1"/>
                  </a:solidFill>
                </a:rPr>
                <a:t>74</a:t>
              </a:r>
            </a:p>
          </p:txBody>
        </p:sp>
        <p:sp>
          <p:nvSpPr>
            <p:cNvPr id="38" name="Forme libre : forme 37">
              <a:extLst>
                <a:ext uri="{FF2B5EF4-FFF2-40B4-BE49-F238E27FC236}">
                  <a16:creationId xmlns:a16="http://schemas.microsoft.com/office/drawing/2014/main" id="{66ED445D-7003-4C67-BF1E-D1B22776F926}"/>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06</a:t>
              </a:r>
            </a:p>
            <a:p>
              <a:pPr algn="ctr">
                <a:lnSpc>
                  <a:spcPct val="90000"/>
                </a:lnSpc>
                <a:spcAft>
                  <a:spcPts val="0"/>
                </a:spcAft>
              </a:pPr>
              <a:r>
                <a:rPr lang="en-US" sz="700" b="0" dirty="0">
                  <a:solidFill>
                    <a:schemeClr val="bg1"/>
                  </a:solidFill>
                </a:rPr>
                <a:t>115</a:t>
              </a:r>
            </a:p>
          </p:txBody>
        </p:sp>
        <p:sp>
          <p:nvSpPr>
            <p:cNvPr id="39" name="Forme libre : forme 38">
              <a:extLst>
                <a:ext uri="{FF2B5EF4-FFF2-40B4-BE49-F238E27FC236}">
                  <a16:creationId xmlns:a16="http://schemas.microsoft.com/office/drawing/2014/main" id="{ADC94DF3-F270-4891-AF79-CD7A88D41C30}"/>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dirty="0">
                  <a:solidFill>
                    <a:schemeClr val="bg1"/>
                  </a:solidFill>
                </a:rPr>
                <a:t>15</a:t>
              </a:r>
            </a:p>
            <a:p>
              <a:pPr algn="ctr">
                <a:lnSpc>
                  <a:spcPct val="90000"/>
                </a:lnSpc>
                <a:spcAft>
                  <a:spcPts val="0"/>
                </a:spcAft>
              </a:pPr>
              <a:r>
                <a:rPr lang="en-US" sz="700" b="0" dirty="0">
                  <a:solidFill>
                    <a:schemeClr val="bg1"/>
                  </a:solidFill>
                </a:rPr>
                <a:t>135</a:t>
              </a:r>
            </a:p>
            <a:p>
              <a:pPr algn="ctr">
                <a:lnSpc>
                  <a:spcPct val="90000"/>
                </a:lnSpc>
                <a:spcAft>
                  <a:spcPts val="0"/>
                </a:spcAft>
              </a:pPr>
              <a:r>
                <a:rPr lang="en-US" sz="700" b="0" dirty="0">
                  <a:solidFill>
                    <a:schemeClr val="bg1"/>
                  </a:solidFill>
                </a:rPr>
                <a:t>138</a:t>
              </a:r>
            </a:p>
          </p:txBody>
        </p:sp>
        <p:sp>
          <p:nvSpPr>
            <p:cNvPr id="40" name="Forme libre : forme 39">
              <a:extLst>
                <a:ext uri="{FF2B5EF4-FFF2-40B4-BE49-F238E27FC236}">
                  <a16:creationId xmlns:a16="http://schemas.microsoft.com/office/drawing/2014/main" id="{B5057D4C-5664-4AB3-AC51-4D9290C9B601}"/>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78</a:t>
              </a:r>
            </a:p>
            <a:p>
              <a:pPr algn="ctr">
                <a:lnSpc>
                  <a:spcPct val="90000"/>
                </a:lnSpc>
                <a:spcAft>
                  <a:spcPts val="0"/>
                </a:spcAft>
              </a:pPr>
              <a:r>
                <a:rPr lang="en-US" sz="700" b="0" dirty="0"/>
                <a:t>162</a:t>
              </a:r>
            </a:p>
          </p:txBody>
        </p:sp>
        <p:sp>
          <p:nvSpPr>
            <p:cNvPr id="41" name="Forme libre : forme 40">
              <a:extLst>
                <a:ext uri="{FF2B5EF4-FFF2-40B4-BE49-F238E27FC236}">
                  <a16:creationId xmlns:a16="http://schemas.microsoft.com/office/drawing/2014/main" id="{B9768BD9-C025-437A-9C82-F4EB248998E9}"/>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44</a:t>
              </a:r>
            </a:p>
            <a:p>
              <a:pPr algn="ctr">
                <a:lnSpc>
                  <a:spcPct val="90000"/>
                </a:lnSpc>
                <a:spcAft>
                  <a:spcPts val="0"/>
                </a:spcAft>
              </a:pPr>
              <a:r>
                <a:rPr lang="en-US" sz="700" b="0" dirty="0"/>
                <a:t>203</a:t>
              </a:r>
            </a:p>
          </p:txBody>
        </p:sp>
        <p:sp>
          <p:nvSpPr>
            <p:cNvPr id="42" name="Forme libre : forme 41">
              <a:extLst>
                <a:ext uri="{FF2B5EF4-FFF2-40B4-BE49-F238E27FC236}">
                  <a16:creationId xmlns:a16="http://schemas.microsoft.com/office/drawing/2014/main" id="{B55B7EBC-24A1-4778-954C-CA69CD87371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54</a:t>
              </a:r>
            </a:p>
          </p:txBody>
        </p:sp>
        <p:sp>
          <p:nvSpPr>
            <p:cNvPr id="43" name="Forme libre : forme 42">
              <a:extLst>
                <a:ext uri="{FF2B5EF4-FFF2-40B4-BE49-F238E27FC236}">
                  <a16:creationId xmlns:a16="http://schemas.microsoft.com/office/drawing/2014/main" id="{8A71FF8C-1C8C-4DA5-BDDC-5559003BC9EC}"/>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140</a:t>
              </a:r>
            </a:p>
            <a:p>
              <a:pPr algn="ctr">
                <a:lnSpc>
                  <a:spcPct val="90000"/>
                </a:lnSpc>
                <a:spcAft>
                  <a:spcPts val="0"/>
                </a:spcAft>
              </a:pPr>
              <a:r>
                <a:rPr lang="en-US" sz="700" b="0" dirty="0">
                  <a:solidFill>
                    <a:schemeClr val="bg1"/>
                  </a:solidFill>
                </a:rPr>
                <a:t>61</a:t>
              </a:r>
            </a:p>
          </p:txBody>
        </p:sp>
        <p:sp>
          <p:nvSpPr>
            <p:cNvPr id="44" name="Forme libre : forme 43">
              <a:extLst>
                <a:ext uri="{FF2B5EF4-FFF2-40B4-BE49-F238E27FC236}">
                  <a16:creationId xmlns:a16="http://schemas.microsoft.com/office/drawing/2014/main" id="{65AE6D7F-AF43-48CF-A55F-487BBDB32479}"/>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dirty="0"/>
                <a:t>46</a:t>
              </a:r>
            </a:p>
            <a:p>
              <a:pPr algn="ctr">
                <a:lnSpc>
                  <a:spcPct val="90000"/>
                </a:lnSpc>
                <a:spcAft>
                  <a:spcPts val="0"/>
                </a:spcAft>
              </a:pPr>
              <a:r>
                <a:rPr lang="en-US" sz="700" b="0" dirty="0"/>
                <a:t>166</a:t>
              </a:r>
            </a:p>
            <a:p>
              <a:pPr algn="ctr">
                <a:lnSpc>
                  <a:spcPct val="90000"/>
                </a:lnSpc>
                <a:spcAft>
                  <a:spcPts val="0"/>
                </a:spcAft>
              </a:pPr>
              <a:r>
                <a:rPr lang="en-US" sz="700" b="0" dirty="0"/>
                <a:t>87</a:t>
              </a:r>
            </a:p>
          </p:txBody>
        </p:sp>
        <p:sp>
          <p:nvSpPr>
            <p:cNvPr id="45" name="Forme libre : forme 44">
              <a:extLst>
                <a:ext uri="{FF2B5EF4-FFF2-40B4-BE49-F238E27FC236}">
                  <a16:creationId xmlns:a16="http://schemas.microsoft.com/office/drawing/2014/main" id="{BB812469-8FE0-44CE-9114-2BFB32567204}"/>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dirty="0"/>
                <a:t>51</a:t>
              </a:r>
            </a:p>
            <a:p>
              <a:pPr algn="ctr">
                <a:lnSpc>
                  <a:spcPct val="90000"/>
                </a:lnSpc>
                <a:spcAft>
                  <a:spcPts val="0"/>
                </a:spcAft>
              </a:pPr>
              <a:r>
                <a:rPr lang="en-US" sz="700" b="0" dirty="0"/>
                <a:t>181</a:t>
              </a:r>
            </a:p>
            <a:p>
              <a:pPr algn="ctr">
                <a:lnSpc>
                  <a:spcPct val="90000"/>
                </a:lnSpc>
                <a:spcAft>
                  <a:spcPts val="0"/>
                </a:spcAft>
              </a:pPr>
              <a:r>
                <a:rPr lang="en-US" sz="700" b="0" dirty="0"/>
                <a:t>105</a:t>
              </a:r>
            </a:p>
          </p:txBody>
        </p:sp>
        <p:sp>
          <p:nvSpPr>
            <p:cNvPr id="46" name="Forme libre : forme 45">
              <a:extLst>
                <a:ext uri="{FF2B5EF4-FFF2-40B4-BE49-F238E27FC236}">
                  <a16:creationId xmlns:a16="http://schemas.microsoft.com/office/drawing/2014/main" id="{087DD0C6-F577-494A-A297-D5E55A43A8E3}"/>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dirty="0"/>
            </a:p>
            <a:p>
              <a:pPr algn="ctr">
                <a:lnSpc>
                  <a:spcPct val="90000"/>
                </a:lnSpc>
                <a:spcAft>
                  <a:spcPts val="0"/>
                </a:spcAft>
              </a:pPr>
              <a:r>
                <a:rPr lang="en-US" sz="700" b="0" dirty="0"/>
                <a:t>87</a:t>
              </a:r>
            </a:p>
            <a:p>
              <a:pPr algn="ctr">
                <a:lnSpc>
                  <a:spcPct val="90000"/>
                </a:lnSpc>
                <a:spcAft>
                  <a:spcPts val="0"/>
                </a:spcAft>
              </a:pPr>
              <a:r>
                <a:rPr lang="en-US" sz="700" b="0" dirty="0"/>
                <a:t>207</a:t>
              </a:r>
            </a:p>
            <a:p>
              <a:pPr algn="ctr">
                <a:lnSpc>
                  <a:spcPct val="90000"/>
                </a:lnSpc>
                <a:spcAft>
                  <a:spcPts val="0"/>
                </a:spcAft>
              </a:pPr>
              <a:r>
                <a:rPr lang="en-US" sz="700" b="0" dirty="0"/>
                <a:t>128</a:t>
              </a:r>
            </a:p>
            <a:p>
              <a:pPr algn="ctr">
                <a:lnSpc>
                  <a:spcPct val="90000"/>
                </a:lnSpc>
                <a:spcAft>
                  <a:spcPts val="0"/>
                </a:spcAft>
              </a:pPr>
              <a:endParaRPr lang="en-US" sz="700" b="0" dirty="0"/>
            </a:p>
          </p:txBody>
        </p:sp>
        <p:sp>
          <p:nvSpPr>
            <p:cNvPr id="47" name="Forme libre : forme 46">
              <a:extLst>
                <a:ext uri="{FF2B5EF4-FFF2-40B4-BE49-F238E27FC236}">
                  <a16:creationId xmlns:a16="http://schemas.microsoft.com/office/drawing/2014/main" id="{63FCFCED-B4ED-4BE7-976A-F5D85C1B8C74}"/>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3</a:t>
              </a:r>
            </a:p>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64</a:t>
              </a:r>
            </a:p>
          </p:txBody>
        </p:sp>
        <p:sp>
          <p:nvSpPr>
            <p:cNvPr id="48" name="Forme libre : forme 47">
              <a:extLst>
                <a:ext uri="{FF2B5EF4-FFF2-40B4-BE49-F238E27FC236}">
                  <a16:creationId xmlns:a16="http://schemas.microsoft.com/office/drawing/2014/main" id="{63385D66-3F37-46EF-8474-FA1A5456BF8F}"/>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33</a:t>
              </a:r>
            </a:p>
            <a:p>
              <a:pPr algn="ctr">
                <a:lnSpc>
                  <a:spcPct val="90000"/>
                </a:lnSpc>
                <a:spcAft>
                  <a:spcPts val="0"/>
                </a:spcAft>
              </a:pPr>
              <a:r>
                <a:rPr lang="en-US" sz="700" b="0" dirty="0">
                  <a:solidFill>
                    <a:schemeClr val="bg1"/>
                  </a:solidFill>
                </a:rPr>
                <a:t>69</a:t>
              </a:r>
            </a:p>
            <a:p>
              <a:pPr algn="ctr">
                <a:lnSpc>
                  <a:spcPct val="90000"/>
                </a:lnSpc>
                <a:spcAft>
                  <a:spcPts val="0"/>
                </a:spcAft>
              </a:pPr>
              <a:r>
                <a:rPr lang="en-US" sz="700" b="0" dirty="0">
                  <a:solidFill>
                    <a:schemeClr val="bg1"/>
                  </a:solidFill>
                </a:rPr>
                <a:t>84</a:t>
              </a:r>
            </a:p>
          </p:txBody>
        </p:sp>
        <p:sp>
          <p:nvSpPr>
            <p:cNvPr id="49" name="Forme libre : forme 48">
              <a:extLst>
                <a:ext uri="{FF2B5EF4-FFF2-40B4-BE49-F238E27FC236}">
                  <a16:creationId xmlns:a16="http://schemas.microsoft.com/office/drawing/2014/main" id="{D575BA76-14B5-4DF5-ADD1-BC6AB1DA89AE}"/>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20</a:t>
              </a:r>
            </a:p>
            <a:p>
              <a:pPr algn="ctr">
                <a:lnSpc>
                  <a:spcPct val="90000"/>
                </a:lnSpc>
                <a:spcAft>
                  <a:spcPts val="0"/>
                </a:spcAft>
              </a:pPr>
              <a:r>
                <a:rPr lang="en-US" sz="700" b="0" dirty="0">
                  <a:solidFill>
                    <a:schemeClr val="bg1"/>
                  </a:solidFill>
                </a:rPr>
                <a:t>89</a:t>
              </a:r>
            </a:p>
            <a:p>
              <a:pPr algn="ctr">
                <a:lnSpc>
                  <a:spcPct val="90000"/>
                </a:lnSpc>
                <a:spcAft>
                  <a:spcPts val="0"/>
                </a:spcAft>
              </a:pPr>
              <a:r>
                <a:rPr lang="en-US" sz="700" b="0" dirty="0">
                  <a:solidFill>
                    <a:schemeClr val="bg1"/>
                  </a:solidFill>
                </a:rPr>
                <a:t>107</a:t>
              </a:r>
            </a:p>
          </p:txBody>
        </p:sp>
        <p:sp>
          <p:nvSpPr>
            <p:cNvPr id="50" name="Forme libre : forme 49">
              <a:extLst>
                <a:ext uri="{FF2B5EF4-FFF2-40B4-BE49-F238E27FC236}">
                  <a16:creationId xmlns:a16="http://schemas.microsoft.com/office/drawing/2014/main" id="{ED7E39D7-0895-42F2-A436-A1E0A1E54A91}"/>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07</a:t>
              </a:r>
            </a:p>
            <a:p>
              <a:pPr algn="ctr">
                <a:lnSpc>
                  <a:spcPct val="90000"/>
                </a:lnSpc>
                <a:spcAft>
                  <a:spcPts val="0"/>
                </a:spcAft>
              </a:pPr>
              <a:r>
                <a:rPr lang="en-US" sz="700" b="0" dirty="0">
                  <a:solidFill>
                    <a:schemeClr val="bg1"/>
                  </a:solidFill>
                </a:rPr>
                <a:t>25</a:t>
              </a:r>
            </a:p>
          </p:txBody>
        </p:sp>
        <p:sp>
          <p:nvSpPr>
            <p:cNvPr id="51" name="Forme libre : forme 50">
              <a:extLst>
                <a:ext uri="{FF2B5EF4-FFF2-40B4-BE49-F238E27FC236}">
                  <a16:creationId xmlns:a16="http://schemas.microsoft.com/office/drawing/2014/main" id="{7F14B4ED-60EF-4BE7-B7A4-0FB240CA8293}"/>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dirty="0">
                  <a:solidFill>
                    <a:schemeClr val="bg1"/>
                  </a:solidFill>
                </a:rPr>
                <a:t>51</a:t>
              </a:r>
            </a:p>
            <a:p>
              <a:pPr algn="ctr">
                <a:lnSpc>
                  <a:spcPct val="90000"/>
                </a:lnSpc>
                <a:spcAft>
                  <a:spcPts val="0"/>
                </a:spcAft>
              </a:pPr>
              <a:r>
                <a:rPr lang="en-US" sz="700" b="0" dirty="0">
                  <a:solidFill>
                    <a:schemeClr val="bg1"/>
                  </a:solidFill>
                </a:rPr>
                <a:t>128</a:t>
              </a:r>
            </a:p>
            <a:p>
              <a:pPr algn="ctr">
                <a:lnSpc>
                  <a:spcPct val="90000"/>
                </a:lnSpc>
                <a:spcAft>
                  <a:spcPts val="0"/>
                </a:spcAft>
              </a:pPr>
              <a:r>
                <a:rPr lang="en-US" sz="700" b="0" dirty="0">
                  <a:solidFill>
                    <a:schemeClr val="bg1"/>
                  </a:solidFill>
                </a:rPr>
                <a:t>145</a:t>
              </a:r>
            </a:p>
          </p:txBody>
        </p:sp>
        <p:sp>
          <p:nvSpPr>
            <p:cNvPr id="52" name="Forme libre : forme 51">
              <a:extLst>
                <a:ext uri="{FF2B5EF4-FFF2-40B4-BE49-F238E27FC236}">
                  <a16:creationId xmlns:a16="http://schemas.microsoft.com/office/drawing/2014/main" id="{8D5432DA-02B7-4610-BE57-7195507870C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25</a:t>
              </a:r>
            </a:p>
            <a:p>
              <a:pPr algn="ctr">
                <a:lnSpc>
                  <a:spcPct val="90000"/>
                </a:lnSpc>
                <a:spcAft>
                  <a:spcPts val="0"/>
                </a:spcAft>
              </a:pPr>
              <a:r>
                <a:rPr lang="en-US" sz="700" b="0" dirty="0">
                  <a:solidFill>
                    <a:schemeClr val="bg1"/>
                  </a:solidFill>
                </a:rPr>
                <a:t>116</a:t>
              </a:r>
            </a:p>
          </p:txBody>
        </p:sp>
        <p:sp>
          <p:nvSpPr>
            <p:cNvPr id="53" name="Forme libre : forme 52">
              <a:extLst>
                <a:ext uri="{FF2B5EF4-FFF2-40B4-BE49-F238E27FC236}">
                  <a16:creationId xmlns:a16="http://schemas.microsoft.com/office/drawing/2014/main" id="{1FA3A78E-AAF0-4D69-B0F9-3A9F08859BDA}"/>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dirty="0">
                  <a:solidFill>
                    <a:schemeClr val="bg1"/>
                  </a:solidFill>
                </a:rPr>
                <a:t>0</a:t>
              </a:r>
            </a:p>
            <a:p>
              <a:pPr algn="ctr">
                <a:lnSpc>
                  <a:spcPct val="90000"/>
                </a:lnSpc>
                <a:spcAft>
                  <a:spcPts val="0"/>
                </a:spcAft>
              </a:pPr>
              <a:r>
                <a:rPr lang="en-US" sz="700" b="0" dirty="0">
                  <a:solidFill>
                    <a:schemeClr val="bg1"/>
                  </a:solidFill>
                </a:rPr>
                <a:t>146</a:t>
              </a:r>
            </a:p>
            <a:p>
              <a:pPr algn="ctr">
                <a:lnSpc>
                  <a:spcPct val="90000"/>
                </a:lnSpc>
                <a:spcAft>
                  <a:spcPts val="0"/>
                </a:spcAft>
              </a:pPr>
              <a:r>
                <a:rPr lang="en-US" sz="700" b="0" dirty="0">
                  <a:solidFill>
                    <a:schemeClr val="bg1"/>
                  </a:solidFill>
                </a:rPr>
                <a:t>155</a:t>
              </a:r>
            </a:p>
          </p:txBody>
        </p:sp>
        <p:sp>
          <p:nvSpPr>
            <p:cNvPr id="54" name="Forme libre : forme 53">
              <a:extLst>
                <a:ext uri="{FF2B5EF4-FFF2-40B4-BE49-F238E27FC236}">
                  <a16:creationId xmlns:a16="http://schemas.microsoft.com/office/drawing/2014/main" id="{3C643D3D-59E9-42BF-8680-FCB9BFC2B414}"/>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191</a:t>
              </a:r>
            </a:p>
            <a:p>
              <a:pPr algn="ctr">
                <a:lnSpc>
                  <a:spcPct val="90000"/>
                </a:lnSpc>
                <a:spcAft>
                  <a:spcPts val="0"/>
                </a:spcAft>
              </a:pPr>
              <a:r>
                <a:rPr lang="en-US" sz="700" b="0" dirty="0"/>
                <a:t>191</a:t>
              </a:r>
            </a:p>
          </p:txBody>
        </p:sp>
        <p:sp>
          <p:nvSpPr>
            <p:cNvPr id="55" name="Forme libre : forme 54">
              <a:extLst>
                <a:ext uri="{FF2B5EF4-FFF2-40B4-BE49-F238E27FC236}">
                  <a16:creationId xmlns:a16="http://schemas.microsoft.com/office/drawing/2014/main" id="{A094B0C1-47F5-4269-B9BF-5C8C9DE3097E}"/>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13</a:t>
              </a:r>
            </a:p>
            <a:p>
              <a:pPr algn="ctr">
                <a:lnSpc>
                  <a:spcPct val="90000"/>
                </a:lnSpc>
                <a:spcAft>
                  <a:spcPts val="0"/>
                </a:spcAft>
              </a:pPr>
              <a:r>
                <a:rPr lang="en-US" sz="700" b="0" dirty="0"/>
                <a:t>208</a:t>
              </a:r>
            </a:p>
          </p:txBody>
        </p:sp>
        <p:sp>
          <p:nvSpPr>
            <p:cNvPr id="56" name="Forme libre : forme 55">
              <a:extLst>
                <a:ext uri="{FF2B5EF4-FFF2-40B4-BE49-F238E27FC236}">
                  <a16:creationId xmlns:a16="http://schemas.microsoft.com/office/drawing/2014/main" id="{47388502-3E29-4155-B77E-30D55652CA46}"/>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dirty="0"/>
                <a:t>0</a:t>
              </a:r>
            </a:p>
            <a:p>
              <a:pPr algn="ctr">
                <a:lnSpc>
                  <a:spcPct val="90000"/>
                </a:lnSpc>
                <a:spcAft>
                  <a:spcPts val="0"/>
                </a:spcAft>
              </a:pPr>
              <a:r>
                <a:rPr lang="en-US" sz="700" b="0" dirty="0"/>
                <a:t>230</a:t>
              </a:r>
            </a:p>
            <a:p>
              <a:pPr algn="ctr">
                <a:lnSpc>
                  <a:spcPct val="90000"/>
                </a:lnSpc>
                <a:spcAft>
                  <a:spcPts val="0"/>
                </a:spcAft>
              </a:pPr>
              <a:r>
                <a:rPr lang="en-US" sz="700" b="0" dirty="0"/>
                <a:t>227</a:t>
              </a:r>
            </a:p>
          </p:txBody>
        </p:sp>
      </p:grpSp>
    </p:spTree>
    <p:extLst>
      <p:ext uri="{BB962C8B-B14F-4D97-AF65-F5344CB8AC3E}">
        <p14:creationId xmlns:p14="http://schemas.microsoft.com/office/powerpoint/2010/main" val="2314978218"/>
      </p:ext>
    </p:extLst>
  </p:cSld>
  <p:clrMap bg1="lt1" tx1="dk1" bg2="lt2" tx2="dk2" accent1="accent1" accent2="accent2" accent3="accent3" accent4="accent4" accent5="accent5" accent6="accent6" hlink="hlink" folHlink="folHlink"/>
  <p:hf sldNum="0" hd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70" userDrawn="1">
          <p15:clr>
            <a:srgbClr val="F26B43"/>
          </p15:clr>
        </p15:guide>
        <p15:guide id="4" pos="3840" userDrawn="1">
          <p15:clr>
            <a:srgbClr val="F26B43"/>
          </p15:clr>
        </p15:guide>
        <p15:guide id="5" pos="255" userDrawn="1">
          <p15:clr>
            <a:srgbClr val="F26B43"/>
          </p15:clr>
        </p15:guide>
        <p15:guide id="6" pos="7423" userDrawn="1">
          <p15:clr>
            <a:srgbClr val="F26B43"/>
          </p15:clr>
        </p15:guide>
        <p15:guide id="7" orient="horz" pos="245" userDrawn="1">
          <p15:clr>
            <a:srgbClr val="F26B43"/>
          </p15:clr>
        </p15:guide>
        <p15:guide id="8" orient="horz" pos="706" userDrawn="1">
          <p15:clr>
            <a:srgbClr val="F26B43"/>
          </p15:clr>
        </p15:guide>
        <p15:guide id="9" orient="horz" pos="83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3.xml"/><Relationship Id="rId7" Type="http://schemas.openxmlformats.org/officeDocument/2006/relationships/hyperlink" Target="https://theconversation.com/wind-solar-coal-and-gas-to-reach-similar-costs-by-2030-report-51306" TargetMode="External"/><Relationship Id="rId2" Type="http://schemas.openxmlformats.org/officeDocument/2006/relationships/audio" Target="../media/media1.m4a"/><Relationship Id="rId1" Type="http://schemas.microsoft.com/office/2007/relationships/media" Target="../media/media1.m4a"/><Relationship Id="rId6" Type="http://schemas.microsoft.com/office/2007/relationships/hdphoto" Target="../media/hdphoto1.wdp"/><Relationship Id="rId5" Type="http://schemas.openxmlformats.org/officeDocument/2006/relationships/image" Target="../media/image10.png"/><Relationship Id="rId10" Type="http://schemas.openxmlformats.org/officeDocument/2006/relationships/image" Target="../media/image13.png"/><Relationship Id="rId4" Type="http://schemas.openxmlformats.org/officeDocument/2006/relationships/notesSlide" Target="../notesSlides/notesSlide1.xml"/><Relationship Id="rId9"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3.png"/><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1.m4a"/><Relationship Id="rId1" Type="http://schemas.microsoft.com/office/2007/relationships/media" Target="../media/media11.m4a"/><Relationship Id="rId5" Type="http://schemas.openxmlformats.org/officeDocument/2006/relationships/image" Target="../media/image13.png"/><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media12.m4a"/><Relationship Id="rId1" Type="http://schemas.microsoft.com/office/2007/relationships/media" Target="../media/media12.m4a"/><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13.png"/><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xml"/><Relationship Id="rId7" Type="http://schemas.openxmlformats.org/officeDocument/2006/relationships/image" Target="../media/image18.jpe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xml"/><Relationship Id="rId7" Type="http://schemas.openxmlformats.org/officeDocument/2006/relationships/image" Target="../media/image21.jpe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3.png"/><Relationship Id="rId5" Type="http://schemas.openxmlformats.org/officeDocument/2006/relationships/image" Target="../media/image22.jpeg"/><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13.png"/><Relationship Id="rId5" Type="http://schemas.openxmlformats.org/officeDocument/2006/relationships/image" Target="../media/image23.png"/><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5.xml"/><Relationship Id="rId7" Type="http://schemas.openxmlformats.org/officeDocument/2006/relationships/image" Target="../media/image26.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13.png"/><Relationship Id="rId5" Type="http://schemas.openxmlformats.org/officeDocument/2006/relationships/image" Target="../media/image24.png"/><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5.xml"/><Relationship Id="rId7" Type="http://schemas.openxmlformats.org/officeDocument/2006/relationships/image" Target="../media/image29.png"/><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28.png"/><Relationship Id="rId11" Type="http://schemas.openxmlformats.org/officeDocument/2006/relationships/image" Target="../media/image1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notesSlide" Target="../notesSlides/notesSlide6.xml"/><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DA8E6E-04C1-47AB-9582-80295865EFC1}"/>
              </a:ext>
            </a:extLst>
          </p:cNvPr>
          <p:cNvSpPr/>
          <p:nvPr/>
        </p:nvSpPr>
        <p:spPr>
          <a:xfrm>
            <a:off x="0" y="-18928"/>
            <a:ext cx="12192000" cy="6876928"/>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Picture Placeholder 8">
            <a:extLst>
              <a:ext uri="{FF2B5EF4-FFF2-40B4-BE49-F238E27FC236}">
                <a16:creationId xmlns:a16="http://schemas.microsoft.com/office/drawing/2014/main" id="{6D92E4EC-3C30-4A58-8551-202BDCA77C90}"/>
              </a:ext>
            </a:extLst>
          </p:cNvPr>
          <p:cNvPicPr>
            <a:picLocks noGrp="1" noChangeAspect="1"/>
          </p:cNvPicPr>
          <p:nvPr>
            <p:ph type="pic" sz="quarter" idx="4294967295"/>
          </p:nvPr>
        </p:nvPicPr>
        <p:blipFill rotWithShape="1">
          <a:blip r:embed="rId5">
            <a:alphaModFix/>
            <a:extLst>
              <a:ext uri="{BEBA8EAE-BF5A-486C-A8C5-ECC9F3942E4B}">
                <a14:imgProps xmlns:a14="http://schemas.microsoft.com/office/drawing/2010/main">
                  <a14:imgLayer r:embed="rId6">
                    <a14:imgEffect>
                      <a14:colorTemperature colorTemp="5900"/>
                    </a14:imgEffect>
                    <a14:imgEffect>
                      <a14:brightnessContrast bright="-40000" contrast="40000"/>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7"/>
              </a:ext>
            </a:extLst>
          </a:blip>
          <a:srcRect l="6249" r="6173"/>
          <a:stretch/>
        </p:blipFill>
        <p:spPr>
          <a:xfrm flipH="1">
            <a:off x="0" y="-18928"/>
            <a:ext cx="12225650" cy="6876928"/>
          </a:xfrm>
        </p:spPr>
      </p:pic>
      <p:sp>
        <p:nvSpPr>
          <p:cNvPr id="13" name="Graphic 13">
            <a:extLst>
              <a:ext uri="{FF2B5EF4-FFF2-40B4-BE49-F238E27FC236}">
                <a16:creationId xmlns:a16="http://schemas.microsoft.com/office/drawing/2014/main" id="{142D2CEA-902B-4DBF-A65C-3D5498D4335F}"/>
              </a:ext>
            </a:extLst>
          </p:cNvPr>
          <p:cNvSpPr>
            <a:spLocks/>
          </p:cNvSpPr>
          <p:nvPr/>
        </p:nvSpPr>
        <p:spPr>
          <a:xfrm rot="21365793">
            <a:off x="3937534" y="638224"/>
            <a:ext cx="8351985" cy="6323030"/>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2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dirty="0"/>
          </a:p>
        </p:txBody>
      </p:sp>
      <p:sp>
        <p:nvSpPr>
          <p:cNvPr id="11" name="Title 10">
            <a:extLst>
              <a:ext uri="{FF2B5EF4-FFF2-40B4-BE49-F238E27FC236}">
                <a16:creationId xmlns:a16="http://schemas.microsoft.com/office/drawing/2014/main" id="{33940544-1F8D-47E0-8BF8-BEED038F26D9}"/>
              </a:ext>
            </a:extLst>
          </p:cNvPr>
          <p:cNvSpPr>
            <a:spLocks noGrp="1"/>
          </p:cNvSpPr>
          <p:nvPr>
            <p:ph type="ctrTitle"/>
          </p:nvPr>
        </p:nvSpPr>
        <p:spPr>
          <a:xfrm>
            <a:off x="404813" y="2016481"/>
            <a:ext cx="11386134" cy="1994392"/>
          </a:xfrm>
        </p:spPr>
        <p:txBody>
          <a:bodyPr/>
          <a:lstStyle/>
          <a:p>
            <a:r>
              <a:rPr lang="en-US" sz="3600" dirty="0"/>
              <a:t>Quantitative and Qualitative Evaluation of a Navigation Application </a:t>
            </a:r>
            <a:br>
              <a:rPr lang="en-US" sz="3600" dirty="0"/>
            </a:br>
            <a:r>
              <a:rPr lang="en-US" sz="3600" dirty="0"/>
              <a:t>Adapted to Young People with Intellectual Disabilities</a:t>
            </a:r>
          </a:p>
        </p:txBody>
      </p:sp>
      <p:pic>
        <p:nvPicPr>
          <p:cNvPr id="10" name="Image 9">
            <a:extLst>
              <a:ext uri="{FF2B5EF4-FFF2-40B4-BE49-F238E27FC236}">
                <a16:creationId xmlns:a16="http://schemas.microsoft.com/office/drawing/2014/main" id="{2DD789CD-C121-4CEA-B184-171C303248DD}"/>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8328248" y="187845"/>
            <a:ext cx="3863752" cy="950638"/>
          </a:xfrm>
          <a:prstGeom prst="rect">
            <a:avLst/>
          </a:prstGeom>
        </p:spPr>
      </p:pic>
      <p:sp>
        <p:nvSpPr>
          <p:cNvPr id="2" name="Espace réservé du pied de page 1">
            <a:extLst>
              <a:ext uri="{FF2B5EF4-FFF2-40B4-BE49-F238E27FC236}">
                <a16:creationId xmlns:a16="http://schemas.microsoft.com/office/drawing/2014/main" id="{0492FD28-21E9-4B64-A7D7-E628BE330449}"/>
              </a:ext>
            </a:extLst>
          </p:cNvPr>
          <p:cNvSpPr>
            <a:spLocks noGrp="1"/>
          </p:cNvSpPr>
          <p:nvPr>
            <p:ph type="ftr" sz="quarter" idx="10"/>
          </p:nvPr>
        </p:nvSpPr>
        <p:spPr/>
        <p:txBody>
          <a:bodyPr/>
          <a:lstStyle/>
          <a:p>
            <a:r>
              <a:rPr lang="fr-FR"/>
              <a:t>HEALTHINFO 2022  |  HALISDEMIR Ufuk  |  16-20/10/2022</a:t>
            </a:r>
            <a:endParaRPr lang="fr-FR" dirty="0"/>
          </a:p>
        </p:txBody>
      </p:sp>
      <p:sp>
        <p:nvSpPr>
          <p:cNvPr id="5" name="Sous-titre 4">
            <a:extLst>
              <a:ext uri="{FF2B5EF4-FFF2-40B4-BE49-F238E27FC236}">
                <a16:creationId xmlns:a16="http://schemas.microsoft.com/office/drawing/2014/main" id="{A7209851-4463-474D-B8ED-4904CFCA691D}"/>
              </a:ext>
            </a:extLst>
          </p:cNvPr>
          <p:cNvSpPr>
            <a:spLocks noGrp="1"/>
          </p:cNvSpPr>
          <p:nvPr>
            <p:ph type="subTitle" idx="1"/>
          </p:nvPr>
        </p:nvSpPr>
        <p:spPr>
          <a:xfrm>
            <a:off x="404813" y="4561383"/>
            <a:ext cx="11386134" cy="692497"/>
          </a:xfrm>
        </p:spPr>
        <p:txBody>
          <a:bodyPr/>
          <a:lstStyle/>
          <a:p>
            <a:r>
              <a:rPr lang="fr-FR" dirty="0"/>
              <a:t>HEALTHINFO 2022</a:t>
            </a:r>
          </a:p>
          <a:p>
            <a:pPr algn="ctr"/>
            <a:r>
              <a:rPr lang="fr-FR" dirty="0"/>
              <a:t>10-16 </a:t>
            </a:r>
            <a:r>
              <a:rPr lang="fr-FR" dirty="0" err="1"/>
              <a:t>October</a:t>
            </a:r>
            <a:r>
              <a:rPr lang="fr-FR" dirty="0"/>
              <a:t> 2022</a:t>
            </a:r>
          </a:p>
        </p:txBody>
      </p:sp>
      <p:pic>
        <p:nvPicPr>
          <p:cNvPr id="6" name="Image 5">
            <a:extLst>
              <a:ext uri="{FF2B5EF4-FFF2-40B4-BE49-F238E27FC236}">
                <a16:creationId xmlns:a16="http://schemas.microsoft.com/office/drawing/2014/main" id="{967C4999-8839-8459-256D-C7F8B3462A1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816080" y="332656"/>
            <a:ext cx="1496130" cy="565725"/>
          </a:xfrm>
          <a:prstGeom prst="rect">
            <a:avLst/>
          </a:prstGeom>
        </p:spPr>
      </p:pic>
      <p:pic>
        <p:nvPicPr>
          <p:cNvPr id="7" name="Audio 6">
            <a:hlinkClick r:id="" action="ppaction://media"/>
            <a:extLst>
              <a:ext uri="{FF2B5EF4-FFF2-40B4-BE49-F238E27FC236}">
                <a16:creationId xmlns:a16="http://schemas.microsoft.com/office/drawing/2014/main" id="{F2377D48-B63C-4478-AA5F-5A6FBF92843F}"/>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3210250137"/>
      </p:ext>
    </p:extLst>
  </p:cSld>
  <p:clrMapOvr>
    <a:masterClrMapping/>
  </p:clrMapOvr>
  <mc:AlternateContent xmlns:mc="http://schemas.openxmlformats.org/markup-compatibility/2006">
    <mc:Choice xmlns:p14="http://schemas.microsoft.com/office/powerpoint/2010/main" Requires="p14">
      <p:transition spd="slow" p14:dur="2000" advTm="14684"/>
    </mc:Choice>
    <mc:Fallback>
      <p:transition spd="slow" advTm="1468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799071-C668-45D0-BA0C-7D3510B005A2}"/>
              </a:ext>
            </a:extLst>
          </p:cNvPr>
          <p:cNvSpPr>
            <a:spLocks noGrp="1"/>
          </p:cNvSpPr>
          <p:nvPr>
            <p:ph type="body" sz="quarter" idx="11"/>
          </p:nvPr>
        </p:nvSpPr>
        <p:spPr/>
        <p:txBody>
          <a:bodyPr/>
          <a:lstStyle/>
          <a:p>
            <a:r>
              <a:rPr lang="en-US" sz="2000" dirty="0"/>
              <a:t>Navigation by the nearest position of steps vs Navigation by circles of steps</a:t>
            </a:r>
            <a:endParaRPr lang="en-US" dirty="0"/>
          </a:p>
        </p:txBody>
      </p:sp>
      <p:sp>
        <p:nvSpPr>
          <p:cNvPr id="3" name="Title 2">
            <a:extLst>
              <a:ext uri="{FF2B5EF4-FFF2-40B4-BE49-F238E27FC236}">
                <a16:creationId xmlns:a16="http://schemas.microsoft.com/office/drawing/2014/main" id="{4A04CCCB-5A93-4316-BDC5-F8EB102EEE3F}"/>
              </a:ext>
            </a:extLst>
          </p:cNvPr>
          <p:cNvSpPr>
            <a:spLocks noGrp="1"/>
          </p:cNvSpPr>
          <p:nvPr>
            <p:ph type="title"/>
          </p:nvPr>
        </p:nvSpPr>
        <p:spPr/>
        <p:txBody>
          <a:bodyPr/>
          <a:lstStyle/>
          <a:p>
            <a:r>
              <a:rPr lang="fr-FR" dirty="0" err="1"/>
              <a:t>Results</a:t>
            </a:r>
            <a:endParaRPr lang="en-US" dirty="0"/>
          </a:p>
        </p:txBody>
      </p:sp>
      <p:sp>
        <p:nvSpPr>
          <p:cNvPr id="2" name="Footer Placeholder 1">
            <a:extLst>
              <a:ext uri="{FF2B5EF4-FFF2-40B4-BE49-F238E27FC236}">
                <a16:creationId xmlns:a16="http://schemas.microsoft.com/office/drawing/2014/main" id="{256F0DA0-51C4-4394-88FF-150896C67994}"/>
              </a:ext>
            </a:extLst>
          </p:cNvPr>
          <p:cNvSpPr>
            <a:spLocks noGrp="1"/>
          </p:cNvSpPr>
          <p:nvPr>
            <p:ph type="ftr" sz="quarter" idx="12"/>
          </p:nvPr>
        </p:nvSpPr>
        <p:spPr/>
        <p:txBody>
          <a:bodyPr/>
          <a:lstStyle/>
          <a:p>
            <a:r>
              <a:rPr lang="fr-FR" dirty="0"/>
              <a:t>HEALTHINFO 2022  |  HALISDEMIR Ufuk  |  16-20/10/2022</a:t>
            </a:r>
          </a:p>
        </p:txBody>
      </p:sp>
      <p:sp>
        <p:nvSpPr>
          <p:cNvPr id="47" name="TextBox 46">
            <a:extLst>
              <a:ext uri="{FF2B5EF4-FFF2-40B4-BE49-F238E27FC236}">
                <a16:creationId xmlns:a16="http://schemas.microsoft.com/office/drawing/2014/main" id="{6454BFCB-B645-416D-B74F-74FEC80ACD36}"/>
              </a:ext>
            </a:extLst>
          </p:cNvPr>
          <p:cNvSpPr txBox="1"/>
          <p:nvPr/>
        </p:nvSpPr>
        <p:spPr>
          <a:xfrm>
            <a:off x="327283" y="1748810"/>
            <a:ext cx="3752493" cy="307777"/>
          </a:xfrm>
          <a:prstGeom prst="rect">
            <a:avLst/>
          </a:prstGeom>
          <a:noFill/>
        </p:spPr>
        <p:txBody>
          <a:bodyPr wrap="square">
            <a:spAutoFit/>
          </a:bodyPr>
          <a:lstStyle/>
          <a:p>
            <a:r>
              <a:rPr lang="en-US" sz="1400" dirty="0"/>
              <a:t>Navigation by the nearest position of steps </a:t>
            </a:r>
          </a:p>
        </p:txBody>
      </p:sp>
      <p:sp>
        <p:nvSpPr>
          <p:cNvPr id="48" name="TextBox 47">
            <a:extLst>
              <a:ext uri="{FF2B5EF4-FFF2-40B4-BE49-F238E27FC236}">
                <a16:creationId xmlns:a16="http://schemas.microsoft.com/office/drawing/2014/main" id="{118D6CB6-0E4C-4042-8A13-E5F98B5A5959}"/>
              </a:ext>
            </a:extLst>
          </p:cNvPr>
          <p:cNvSpPr txBox="1"/>
          <p:nvPr/>
        </p:nvSpPr>
        <p:spPr>
          <a:xfrm>
            <a:off x="6037419" y="1748810"/>
            <a:ext cx="2818060" cy="307777"/>
          </a:xfrm>
          <a:prstGeom prst="rect">
            <a:avLst/>
          </a:prstGeom>
          <a:noFill/>
        </p:spPr>
        <p:txBody>
          <a:bodyPr wrap="square">
            <a:spAutoFit/>
          </a:bodyPr>
          <a:lstStyle/>
          <a:p>
            <a:r>
              <a:rPr lang="en-US" sz="1400" dirty="0"/>
              <a:t>Navigation by circles of steps</a:t>
            </a:r>
          </a:p>
        </p:txBody>
      </p:sp>
      <p:pic>
        <p:nvPicPr>
          <p:cNvPr id="20" name="Image 6">
            <a:extLst>
              <a:ext uri="{FF2B5EF4-FFF2-40B4-BE49-F238E27FC236}">
                <a16:creationId xmlns:a16="http://schemas.microsoft.com/office/drawing/2014/main" id="{91A4BC86-195D-46A0-827F-DAC1B9483A6B}"/>
              </a:ext>
            </a:extLst>
          </p:cNvPr>
          <p:cNvPicPr>
            <a:picLocks noChangeAspect="1"/>
          </p:cNvPicPr>
          <p:nvPr/>
        </p:nvPicPr>
        <p:blipFill>
          <a:blip r:embed="rId5"/>
          <a:stretch>
            <a:fillRect/>
          </a:stretch>
        </p:blipFill>
        <p:spPr>
          <a:xfrm>
            <a:off x="433041" y="2536646"/>
            <a:ext cx="4561350" cy="2548492"/>
          </a:xfrm>
          <a:prstGeom prst="rect">
            <a:avLst/>
          </a:prstGeom>
        </p:spPr>
      </p:pic>
      <p:cxnSp>
        <p:nvCxnSpPr>
          <p:cNvPr id="22" name="Connecteur droit avec flèche 11">
            <a:extLst>
              <a:ext uri="{FF2B5EF4-FFF2-40B4-BE49-F238E27FC236}">
                <a16:creationId xmlns:a16="http://schemas.microsoft.com/office/drawing/2014/main" id="{7E62550B-0CAE-4F64-AF70-72A67818ED3B}"/>
              </a:ext>
            </a:extLst>
          </p:cNvPr>
          <p:cNvCxnSpPr>
            <a:cxnSpLocks/>
          </p:cNvCxnSpPr>
          <p:nvPr/>
        </p:nvCxnSpPr>
        <p:spPr>
          <a:xfrm>
            <a:off x="1009105" y="3646250"/>
            <a:ext cx="144016" cy="504056"/>
          </a:xfrm>
          <a:prstGeom prst="straightConnector1">
            <a:avLst/>
          </a:prstGeom>
          <a:ln w="57150">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3" name="Image 13">
            <a:extLst>
              <a:ext uri="{FF2B5EF4-FFF2-40B4-BE49-F238E27FC236}">
                <a16:creationId xmlns:a16="http://schemas.microsoft.com/office/drawing/2014/main" id="{ABD219EF-3DCA-4E94-9FFE-A3022DEF9F27}"/>
              </a:ext>
            </a:extLst>
          </p:cNvPr>
          <p:cNvPicPr>
            <a:picLocks noChangeAspect="1"/>
          </p:cNvPicPr>
          <p:nvPr/>
        </p:nvPicPr>
        <p:blipFill rotWithShape="1">
          <a:blip r:embed="rId6"/>
          <a:srcRect b="202"/>
          <a:stretch/>
        </p:blipFill>
        <p:spPr>
          <a:xfrm>
            <a:off x="6737219" y="2449647"/>
            <a:ext cx="4854123" cy="2708771"/>
          </a:xfrm>
          <a:prstGeom prst="rect">
            <a:avLst/>
          </a:prstGeom>
        </p:spPr>
      </p:pic>
      <p:cxnSp>
        <p:nvCxnSpPr>
          <p:cNvPr id="24" name="Connecteur droit avec flèche 15">
            <a:extLst>
              <a:ext uri="{FF2B5EF4-FFF2-40B4-BE49-F238E27FC236}">
                <a16:creationId xmlns:a16="http://schemas.microsoft.com/office/drawing/2014/main" id="{E7F60E72-0DA2-4D1F-9B54-A7C63D520006}"/>
              </a:ext>
            </a:extLst>
          </p:cNvPr>
          <p:cNvCxnSpPr>
            <a:cxnSpLocks/>
          </p:cNvCxnSpPr>
          <p:nvPr/>
        </p:nvCxnSpPr>
        <p:spPr>
          <a:xfrm>
            <a:off x="7417817" y="3645779"/>
            <a:ext cx="144016" cy="504056"/>
          </a:xfrm>
          <a:prstGeom prst="straightConnector1">
            <a:avLst/>
          </a:prstGeom>
          <a:ln w="57150">
            <a:solidFill>
              <a:schemeClr val="accent6">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96930E6-6A63-43D9-B8C8-4FC06136B947}"/>
              </a:ext>
            </a:extLst>
          </p:cNvPr>
          <p:cNvSpPr txBox="1"/>
          <p:nvPr/>
        </p:nvSpPr>
        <p:spPr>
          <a:xfrm>
            <a:off x="8112224" y="3929086"/>
            <a:ext cx="704039" cy="369332"/>
          </a:xfrm>
          <a:prstGeom prst="rect">
            <a:avLst/>
          </a:prstGeom>
          <a:noFill/>
        </p:spPr>
        <p:txBody>
          <a:bodyPr wrap="none" rtlCol="0">
            <a:spAutoFit/>
          </a:bodyPr>
          <a:lstStyle/>
          <a:p>
            <a:r>
              <a:rPr lang="en-US" dirty="0"/>
              <a:t>Start</a:t>
            </a:r>
          </a:p>
        </p:txBody>
      </p:sp>
      <p:sp>
        <p:nvSpPr>
          <p:cNvPr id="25" name="TextBox 24">
            <a:extLst>
              <a:ext uri="{FF2B5EF4-FFF2-40B4-BE49-F238E27FC236}">
                <a16:creationId xmlns:a16="http://schemas.microsoft.com/office/drawing/2014/main" id="{71446D18-5604-4FD2-8D7F-90A962B714C6}"/>
              </a:ext>
            </a:extLst>
          </p:cNvPr>
          <p:cNvSpPr txBox="1"/>
          <p:nvPr/>
        </p:nvSpPr>
        <p:spPr>
          <a:xfrm>
            <a:off x="8850518" y="2177898"/>
            <a:ext cx="585417" cy="369332"/>
          </a:xfrm>
          <a:prstGeom prst="rect">
            <a:avLst/>
          </a:prstGeom>
          <a:noFill/>
        </p:spPr>
        <p:txBody>
          <a:bodyPr wrap="none" rtlCol="0">
            <a:spAutoFit/>
          </a:bodyPr>
          <a:lstStyle/>
          <a:p>
            <a:r>
              <a:rPr lang="en-US" dirty="0"/>
              <a:t>End</a:t>
            </a:r>
          </a:p>
        </p:txBody>
      </p:sp>
      <p:sp>
        <p:nvSpPr>
          <p:cNvPr id="26" name="TextBox 25">
            <a:extLst>
              <a:ext uri="{FF2B5EF4-FFF2-40B4-BE49-F238E27FC236}">
                <a16:creationId xmlns:a16="http://schemas.microsoft.com/office/drawing/2014/main" id="{3F2841B9-4BDF-4D49-95EC-8C30CBB52D72}"/>
              </a:ext>
            </a:extLst>
          </p:cNvPr>
          <p:cNvSpPr txBox="1"/>
          <p:nvPr/>
        </p:nvSpPr>
        <p:spPr>
          <a:xfrm>
            <a:off x="1729185" y="3929086"/>
            <a:ext cx="704039" cy="369332"/>
          </a:xfrm>
          <a:prstGeom prst="rect">
            <a:avLst/>
          </a:prstGeom>
          <a:noFill/>
        </p:spPr>
        <p:txBody>
          <a:bodyPr wrap="none" rtlCol="0">
            <a:spAutoFit/>
          </a:bodyPr>
          <a:lstStyle/>
          <a:p>
            <a:r>
              <a:rPr lang="en-US" dirty="0"/>
              <a:t>Start</a:t>
            </a:r>
          </a:p>
        </p:txBody>
      </p:sp>
      <p:sp>
        <p:nvSpPr>
          <p:cNvPr id="29" name="TextBox 28">
            <a:extLst>
              <a:ext uri="{FF2B5EF4-FFF2-40B4-BE49-F238E27FC236}">
                <a16:creationId xmlns:a16="http://schemas.microsoft.com/office/drawing/2014/main" id="{E430C658-F102-4199-9853-EC317252E41B}"/>
              </a:ext>
            </a:extLst>
          </p:cNvPr>
          <p:cNvSpPr txBox="1"/>
          <p:nvPr/>
        </p:nvSpPr>
        <p:spPr>
          <a:xfrm>
            <a:off x="2467479" y="2177898"/>
            <a:ext cx="585417" cy="369332"/>
          </a:xfrm>
          <a:prstGeom prst="rect">
            <a:avLst/>
          </a:prstGeom>
          <a:noFill/>
        </p:spPr>
        <p:txBody>
          <a:bodyPr wrap="none" rtlCol="0">
            <a:spAutoFit/>
          </a:bodyPr>
          <a:lstStyle/>
          <a:p>
            <a:r>
              <a:rPr lang="en-US" dirty="0"/>
              <a:t>End</a:t>
            </a:r>
          </a:p>
        </p:txBody>
      </p:sp>
      <p:sp>
        <p:nvSpPr>
          <p:cNvPr id="8" name="TextBox 7">
            <a:extLst>
              <a:ext uri="{FF2B5EF4-FFF2-40B4-BE49-F238E27FC236}">
                <a16:creationId xmlns:a16="http://schemas.microsoft.com/office/drawing/2014/main" id="{E9535915-B2F2-43DC-BFE5-68D4D91F11AF}"/>
              </a:ext>
            </a:extLst>
          </p:cNvPr>
          <p:cNvSpPr txBox="1"/>
          <p:nvPr/>
        </p:nvSpPr>
        <p:spPr>
          <a:xfrm>
            <a:off x="539823" y="5436789"/>
            <a:ext cx="5336669" cy="646331"/>
          </a:xfrm>
          <a:prstGeom prst="rect">
            <a:avLst/>
          </a:prstGeom>
          <a:noFill/>
        </p:spPr>
        <p:txBody>
          <a:bodyPr wrap="square" rtlCol="0">
            <a:spAutoFit/>
          </a:bodyPr>
          <a:lstStyle/>
          <a:p>
            <a:r>
              <a:rPr lang="en-US" dirty="0"/>
              <a:t>Steps 5 and 6 are validated because step 7 is closer</a:t>
            </a:r>
          </a:p>
        </p:txBody>
      </p:sp>
      <p:sp>
        <p:nvSpPr>
          <p:cNvPr id="30" name="TextBox 29">
            <a:extLst>
              <a:ext uri="{FF2B5EF4-FFF2-40B4-BE49-F238E27FC236}">
                <a16:creationId xmlns:a16="http://schemas.microsoft.com/office/drawing/2014/main" id="{EF46C130-3587-4E7D-BF24-D2C66BE47D64}"/>
              </a:ext>
            </a:extLst>
          </p:cNvPr>
          <p:cNvSpPr txBox="1"/>
          <p:nvPr/>
        </p:nvSpPr>
        <p:spPr>
          <a:xfrm>
            <a:off x="7408185" y="4469460"/>
            <a:ext cx="314510" cy="369332"/>
          </a:xfrm>
          <a:prstGeom prst="rect">
            <a:avLst/>
          </a:prstGeom>
          <a:noFill/>
        </p:spPr>
        <p:txBody>
          <a:bodyPr wrap="none" rtlCol="0">
            <a:spAutoFit/>
          </a:bodyPr>
          <a:lstStyle/>
          <a:p>
            <a:r>
              <a:rPr lang="en-US" dirty="0"/>
              <a:t>5</a:t>
            </a:r>
          </a:p>
        </p:txBody>
      </p:sp>
      <p:sp>
        <p:nvSpPr>
          <p:cNvPr id="31" name="TextBox 30">
            <a:extLst>
              <a:ext uri="{FF2B5EF4-FFF2-40B4-BE49-F238E27FC236}">
                <a16:creationId xmlns:a16="http://schemas.microsoft.com/office/drawing/2014/main" id="{F3083D59-7BD8-4702-AF03-679433E94E6F}"/>
              </a:ext>
            </a:extLst>
          </p:cNvPr>
          <p:cNvSpPr txBox="1"/>
          <p:nvPr/>
        </p:nvSpPr>
        <p:spPr>
          <a:xfrm>
            <a:off x="6895380" y="4469460"/>
            <a:ext cx="314510" cy="369332"/>
          </a:xfrm>
          <a:prstGeom prst="rect">
            <a:avLst/>
          </a:prstGeom>
          <a:noFill/>
        </p:spPr>
        <p:txBody>
          <a:bodyPr wrap="none" rtlCol="0">
            <a:spAutoFit/>
          </a:bodyPr>
          <a:lstStyle/>
          <a:p>
            <a:r>
              <a:rPr lang="en-US" dirty="0"/>
              <a:t>6</a:t>
            </a:r>
          </a:p>
        </p:txBody>
      </p:sp>
      <p:sp>
        <p:nvSpPr>
          <p:cNvPr id="32" name="TextBox 31">
            <a:extLst>
              <a:ext uri="{FF2B5EF4-FFF2-40B4-BE49-F238E27FC236}">
                <a16:creationId xmlns:a16="http://schemas.microsoft.com/office/drawing/2014/main" id="{6CEF1B58-922E-4CEC-A195-74A8C0787484}"/>
              </a:ext>
            </a:extLst>
          </p:cNvPr>
          <p:cNvSpPr txBox="1"/>
          <p:nvPr/>
        </p:nvSpPr>
        <p:spPr>
          <a:xfrm>
            <a:off x="6895380" y="3842094"/>
            <a:ext cx="314510" cy="369332"/>
          </a:xfrm>
          <a:prstGeom prst="rect">
            <a:avLst/>
          </a:prstGeom>
          <a:noFill/>
        </p:spPr>
        <p:txBody>
          <a:bodyPr wrap="none" rtlCol="0">
            <a:spAutoFit/>
          </a:bodyPr>
          <a:lstStyle/>
          <a:p>
            <a:r>
              <a:rPr lang="en-US" dirty="0"/>
              <a:t>7</a:t>
            </a:r>
          </a:p>
        </p:txBody>
      </p:sp>
      <p:sp>
        <p:nvSpPr>
          <p:cNvPr id="33" name="TextBox 32">
            <a:extLst>
              <a:ext uri="{FF2B5EF4-FFF2-40B4-BE49-F238E27FC236}">
                <a16:creationId xmlns:a16="http://schemas.microsoft.com/office/drawing/2014/main" id="{57C3E581-4F5B-4F0E-81EE-EA6A4324BB45}"/>
              </a:ext>
            </a:extLst>
          </p:cNvPr>
          <p:cNvSpPr txBox="1"/>
          <p:nvPr/>
        </p:nvSpPr>
        <p:spPr>
          <a:xfrm>
            <a:off x="1062656" y="4469460"/>
            <a:ext cx="314510" cy="369332"/>
          </a:xfrm>
          <a:prstGeom prst="rect">
            <a:avLst/>
          </a:prstGeom>
          <a:noFill/>
        </p:spPr>
        <p:txBody>
          <a:bodyPr wrap="none" rtlCol="0">
            <a:spAutoFit/>
          </a:bodyPr>
          <a:lstStyle/>
          <a:p>
            <a:r>
              <a:rPr lang="en-US" dirty="0"/>
              <a:t>5</a:t>
            </a:r>
          </a:p>
        </p:txBody>
      </p:sp>
      <p:sp>
        <p:nvSpPr>
          <p:cNvPr id="34" name="TextBox 33">
            <a:extLst>
              <a:ext uri="{FF2B5EF4-FFF2-40B4-BE49-F238E27FC236}">
                <a16:creationId xmlns:a16="http://schemas.microsoft.com/office/drawing/2014/main" id="{F01C541E-6E11-49D8-AC0C-A1F05316ECC4}"/>
              </a:ext>
            </a:extLst>
          </p:cNvPr>
          <p:cNvSpPr txBox="1"/>
          <p:nvPr/>
        </p:nvSpPr>
        <p:spPr>
          <a:xfrm>
            <a:off x="549851" y="4469460"/>
            <a:ext cx="314510" cy="369332"/>
          </a:xfrm>
          <a:prstGeom prst="rect">
            <a:avLst/>
          </a:prstGeom>
          <a:noFill/>
        </p:spPr>
        <p:txBody>
          <a:bodyPr wrap="none" rtlCol="0">
            <a:spAutoFit/>
          </a:bodyPr>
          <a:lstStyle/>
          <a:p>
            <a:r>
              <a:rPr lang="en-US" dirty="0"/>
              <a:t>6</a:t>
            </a:r>
          </a:p>
        </p:txBody>
      </p:sp>
      <p:sp>
        <p:nvSpPr>
          <p:cNvPr id="35" name="TextBox 34">
            <a:extLst>
              <a:ext uri="{FF2B5EF4-FFF2-40B4-BE49-F238E27FC236}">
                <a16:creationId xmlns:a16="http://schemas.microsoft.com/office/drawing/2014/main" id="{A0A6D5EC-3FBB-48BC-881E-1135A511BBBA}"/>
              </a:ext>
            </a:extLst>
          </p:cNvPr>
          <p:cNvSpPr txBox="1"/>
          <p:nvPr/>
        </p:nvSpPr>
        <p:spPr>
          <a:xfrm>
            <a:off x="549851" y="3842094"/>
            <a:ext cx="314510" cy="369332"/>
          </a:xfrm>
          <a:prstGeom prst="rect">
            <a:avLst/>
          </a:prstGeom>
          <a:noFill/>
        </p:spPr>
        <p:txBody>
          <a:bodyPr wrap="none" rtlCol="0">
            <a:spAutoFit/>
          </a:bodyPr>
          <a:lstStyle/>
          <a:p>
            <a:r>
              <a:rPr lang="en-US" dirty="0"/>
              <a:t>7</a:t>
            </a:r>
          </a:p>
        </p:txBody>
      </p:sp>
      <p:sp>
        <p:nvSpPr>
          <p:cNvPr id="36" name="TextBox 35">
            <a:extLst>
              <a:ext uri="{FF2B5EF4-FFF2-40B4-BE49-F238E27FC236}">
                <a16:creationId xmlns:a16="http://schemas.microsoft.com/office/drawing/2014/main" id="{EA16C6A3-9C98-4959-98B2-07BB676AF168}"/>
              </a:ext>
            </a:extLst>
          </p:cNvPr>
          <p:cNvSpPr txBox="1"/>
          <p:nvPr/>
        </p:nvSpPr>
        <p:spPr>
          <a:xfrm>
            <a:off x="6315510" y="5436789"/>
            <a:ext cx="5336669" cy="923330"/>
          </a:xfrm>
          <a:prstGeom prst="rect">
            <a:avLst/>
          </a:prstGeom>
          <a:noFill/>
        </p:spPr>
        <p:txBody>
          <a:bodyPr wrap="square" rtlCol="0">
            <a:spAutoFit/>
          </a:bodyPr>
          <a:lstStyle/>
          <a:p>
            <a:r>
              <a:rPr lang="en-US" dirty="0"/>
              <a:t>This doesn't happen with the </a:t>
            </a:r>
            <a:r>
              <a:rPr lang="en-US" sz="1800" dirty="0"/>
              <a:t>navigation by circles of steps</a:t>
            </a:r>
          </a:p>
          <a:p>
            <a:r>
              <a:rPr lang="en-US" dirty="0"/>
              <a:t> </a:t>
            </a:r>
          </a:p>
        </p:txBody>
      </p:sp>
      <p:pic>
        <p:nvPicPr>
          <p:cNvPr id="6" name="Audio 5">
            <a:hlinkClick r:id="" action="ppaction://media"/>
            <a:extLst>
              <a:ext uri="{FF2B5EF4-FFF2-40B4-BE49-F238E27FC236}">
                <a16:creationId xmlns:a16="http://schemas.microsoft.com/office/drawing/2014/main" id="{3D70E96A-E517-4D04-A781-D6FCEC2A0BB9}"/>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2605241523"/>
      </p:ext>
    </p:extLst>
  </p:cSld>
  <p:clrMapOvr>
    <a:masterClrMapping/>
  </p:clrMapOvr>
  <mc:AlternateContent xmlns:mc="http://schemas.openxmlformats.org/markup-compatibility/2006">
    <mc:Choice xmlns:p14="http://schemas.microsoft.com/office/powerpoint/2010/main" Requires="p14">
      <p:transition spd="slow" p14:dur="2000" advTm="33750"/>
    </mc:Choice>
    <mc:Fallback>
      <p:transition spd="slow" advTm="3375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04CCCB-5A93-4316-BDC5-F8EB102EEE3F}"/>
              </a:ext>
            </a:extLst>
          </p:cNvPr>
          <p:cNvSpPr>
            <a:spLocks noGrp="1"/>
          </p:cNvSpPr>
          <p:nvPr>
            <p:ph type="title"/>
          </p:nvPr>
        </p:nvSpPr>
        <p:spPr/>
        <p:txBody>
          <a:bodyPr/>
          <a:lstStyle/>
          <a:p>
            <a:r>
              <a:rPr lang="fr-FR" dirty="0" err="1"/>
              <a:t>Conslusion</a:t>
            </a:r>
            <a:endParaRPr lang="en-US" dirty="0"/>
          </a:p>
        </p:txBody>
      </p:sp>
      <p:sp>
        <p:nvSpPr>
          <p:cNvPr id="2" name="Footer Placeholder 1">
            <a:extLst>
              <a:ext uri="{FF2B5EF4-FFF2-40B4-BE49-F238E27FC236}">
                <a16:creationId xmlns:a16="http://schemas.microsoft.com/office/drawing/2014/main" id="{256F0DA0-51C4-4394-88FF-150896C67994}"/>
              </a:ext>
            </a:extLst>
          </p:cNvPr>
          <p:cNvSpPr>
            <a:spLocks noGrp="1"/>
          </p:cNvSpPr>
          <p:nvPr>
            <p:ph type="ftr" sz="quarter" idx="12"/>
          </p:nvPr>
        </p:nvSpPr>
        <p:spPr/>
        <p:txBody>
          <a:bodyPr/>
          <a:lstStyle/>
          <a:p>
            <a:r>
              <a:rPr lang="fr-FR" dirty="0"/>
              <a:t>HEALTHINFO 2022  |  HALISDEMIR Ufuk  |  16-20/10/2022</a:t>
            </a:r>
          </a:p>
        </p:txBody>
      </p:sp>
      <p:sp>
        <p:nvSpPr>
          <p:cNvPr id="9" name="TextBox 8">
            <a:extLst>
              <a:ext uri="{FF2B5EF4-FFF2-40B4-BE49-F238E27FC236}">
                <a16:creationId xmlns:a16="http://schemas.microsoft.com/office/drawing/2014/main" id="{BD8F4920-049F-4990-A8FF-C2547CE0C7DD}"/>
              </a:ext>
            </a:extLst>
          </p:cNvPr>
          <p:cNvSpPr txBox="1"/>
          <p:nvPr/>
        </p:nvSpPr>
        <p:spPr>
          <a:xfrm>
            <a:off x="551384" y="1484784"/>
            <a:ext cx="11305256" cy="3693319"/>
          </a:xfrm>
          <a:prstGeom prst="rect">
            <a:avLst/>
          </a:prstGeom>
          <a:noFill/>
        </p:spPr>
        <p:txBody>
          <a:bodyPr wrap="square" rtlCol="0">
            <a:spAutoFit/>
          </a:bodyPr>
          <a:lstStyle/>
          <a:p>
            <a:r>
              <a:rPr lang="en-US" b="1" dirty="0"/>
              <a:t>Qualitative evaluation</a:t>
            </a:r>
          </a:p>
          <a:p>
            <a:pPr marL="444500" indent="-285750">
              <a:buFont typeface="Arial" panose="020B0604020202020204" pitchFamily="34" charset="0"/>
              <a:buChar char="•"/>
            </a:pPr>
            <a:r>
              <a:rPr lang="en-US" dirty="0"/>
              <a:t>Test and validation of the process : Allows to get feedback on the behavior of the user and Adapt the app as close as possible to the needs of the users</a:t>
            </a:r>
          </a:p>
          <a:p>
            <a:pPr marL="444500" indent="-285750">
              <a:buFont typeface="Arial" panose="020B0604020202020204" pitchFamily="34" charset="0"/>
              <a:buChar char="•"/>
            </a:pPr>
            <a:r>
              <a:rPr lang="en-US" dirty="0"/>
              <a:t>Test of the application (bugs etc.…)</a:t>
            </a:r>
          </a:p>
          <a:p>
            <a:pPr marL="444500" indent="-285750">
              <a:buFont typeface="Arial" panose="020B0604020202020204" pitchFamily="34" charset="0"/>
              <a:buChar char="•"/>
            </a:pPr>
            <a:endParaRPr lang="en-US" dirty="0"/>
          </a:p>
          <a:p>
            <a:r>
              <a:rPr lang="en-US" b="1" dirty="0"/>
              <a:t>Quantitative evaluation</a:t>
            </a:r>
          </a:p>
          <a:p>
            <a:pPr marL="444500" indent="-285750">
              <a:buFont typeface="Arial" panose="020B0604020202020204" pitchFamily="34" charset="0"/>
              <a:buChar char="•"/>
            </a:pPr>
            <a:r>
              <a:rPr lang="en-US" dirty="0"/>
              <a:t>Creation of a tool to virtually simulate a journey</a:t>
            </a:r>
          </a:p>
          <a:p>
            <a:pPr marL="901700" lvl="1" indent="-285750">
              <a:buFont typeface="Arial" panose="020B0604020202020204" pitchFamily="34" charset="0"/>
              <a:buChar char="•"/>
            </a:pPr>
            <a:r>
              <a:rPr lang="en-US" dirty="0"/>
              <a:t>Catch bug</a:t>
            </a:r>
          </a:p>
          <a:p>
            <a:pPr marL="901700" lvl="1" indent="-285750">
              <a:buFont typeface="Arial" panose="020B0604020202020204" pitchFamily="34" charset="0"/>
              <a:buChar char="•"/>
            </a:pPr>
            <a:r>
              <a:rPr lang="en-US" dirty="0"/>
              <a:t>Test different algorithms</a:t>
            </a:r>
          </a:p>
          <a:p>
            <a:pPr marL="0" lvl="1"/>
            <a:endParaRPr lang="en-US" dirty="0"/>
          </a:p>
          <a:p>
            <a:pPr marL="0" lvl="1"/>
            <a:r>
              <a:rPr lang="en-US" dirty="0" err="1"/>
              <a:t>Prespectives</a:t>
            </a:r>
            <a:endParaRPr lang="en-US" dirty="0"/>
          </a:p>
          <a:p>
            <a:pPr marL="444500" lvl="1" indent="-285750">
              <a:buFont typeface="Arial" panose="020B0604020202020204" pitchFamily="34" charset="0"/>
              <a:buChar char="•"/>
            </a:pPr>
            <a:r>
              <a:rPr lang="en-US" dirty="0"/>
              <a:t>Smartwatch app developed.</a:t>
            </a:r>
          </a:p>
          <a:p>
            <a:pPr marL="901700" lvl="2" indent="-285750">
              <a:buFont typeface="Arial" panose="020B0604020202020204" pitchFamily="34" charset="0"/>
              <a:buChar char="•"/>
            </a:pPr>
            <a:r>
              <a:rPr lang="en-US" dirty="0"/>
              <a:t>Use additional data from watch and phone (heart rate monitor, accelerometers, gyroscopes etc.…)</a:t>
            </a:r>
          </a:p>
        </p:txBody>
      </p:sp>
      <p:pic>
        <p:nvPicPr>
          <p:cNvPr id="4" name="Audio 3">
            <a:hlinkClick r:id="" action="ppaction://media"/>
            <a:extLst>
              <a:ext uri="{FF2B5EF4-FFF2-40B4-BE49-F238E27FC236}">
                <a16:creationId xmlns:a16="http://schemas.microsoft.com/office/drawing/2014/main" id="{871DB1AA-6567-4324-956F-5DBB11CE457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812775211"/>
      </p:ext>
    </p:extLst>
  </p:cSld>
  <p:clrMapOvr>
    <a:masterClrMapping/>
  </p:clrMapOvr>
  <mc:AlternateContent xmlns:mc="http://schemas.openxmlformats.org/markup-compatibility/2006">
    <mc:Choice xmlns:p14="http://schemas.microsoft.com/office/powerpoint/2010/main" Requires="p14">
      <p:transition spd="slow" p14:dur="2000" advTm="45521"/>
    </mc:Choice>
    <mc:Fallback>
      <p:transition spd="slow" advTm="4552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17D12752-B4E6-4BB2-9E68-32E6C43BC799}"/>
              </a:ext>
            </a:extLst>
          </p:cNvPr>
          <p:cNvSpPr>
            <a:spLocks noGrp="1"/>
          </p:cNvSpPr>
          <p:nvPr>
            <p:ph type="ftr" sz="quarter" idx="10"/>
          </p:nvPr>
        </p:nvSpPr>
        <p:spPr/>
        <p:txBody>
          <a:bodyPr/>
          <a:lstStyle/>
          <a:p>
            <a:r>
              <a:rPr lang="fr-FR"/>
              <a:t>HEALTHINFO 2022  |  HALISDEMIR Ufuk  |  16-20/10/2022</a:t>
            </a:r>
            <a:endParaRPr lang="fr-FR" dirty="0"/>
          </a:p>
        </p:txBody>
      </p:sp>
      <p:sp>
        <p:nvSpPr>
          <p:cNvPr id="3" name="ZoneTexte 2">
            <a:extLst>
              <a:ext uri="{FF2B5EF4-FFF2-40B4-BE49-F238E27FC236}">
                <a16:creationId xmlns:a16="http://schemas.microsoft.com/office/drawing/2014/main" id="{A4F01D2E-E588-48E0-AFF4-9E0D599EEEE7}"/>
              </a:ext>
            </a:extLst>
          </p:cNvPr>
          <p:cNvSpPr txBox="1"/>
          <p:nvPr/>
        </p:nvSpPr>
        <p:spPr>
          <a:xfrm>
            <a:off x="4748515" y="3105835"/>
            <a:ext cx="2694969" cy="646331"/>
          </a:xfrm>
          <a:prstGeom prst="rect">
            <a:avLst/>
          </a:prstGeom>
          <a:noFill/>
        </p:spPr>
        <p:txBody>
          <a:bodyPr wrap="none" rtlCol="0" anchor="ctr">
            <a:spAutoFit/>
          </a:bodyPr>
          <a:lstStyle/>
          <a:p>
            <a:pPr algn="ctr"/>
            <a:r>
              <a:rPr lang="fr-FR" sz="3600" b="1" dirty="0" err="1">
                <a:solidFill>
                  <a:srgbClr val="ECECEC"/>
                </a:solidFill>
              </a:rPr>
              <a:t>Thank</a:t>
            </a:r>
            <a:r>
              <a:rPr lang="fr-FR" sz="3600" b="1" dirty="0">
                <a:solidFill>
                  <a:srgbClr val="ECECEC"/>
                </a:solidFill>
              </a:rPr>
              <a:t> </a:t>
            </a:r>
            <a:r>
              <a:rPr lang="fr-FR" sz="3600" b="1" dirty="0" err="1">
                <a:solidFill>
                  <a:srgbClr val="ECECEC"/>
                </a:solidFill>
              </a:rPr>
              <a:t>you</a:t>
            </a:r>
            <a:r>
              <a:rPr lang="fr-FR" sz="3600" b="1" dirty="0">
                <a:solidFill>
                  <a:srgbClr val="ECECEC"/>
                </a:solidFill>
              </a:rPr>
              <a:t> !</a:t>
            </a:r>
          </a:p>
        </p:txBody>
      </p:sp>
      <p:pic>
        <p:nvPicPr>
          <p:cNvPr id="4" name="Audio 3">
            <a:hlinkClick r:id="" action="ppaction://media"/>
            <a:extLst>
              <a:ext uri="{FF2B5EF4-FFF2-40B4-BE49-F238E27FC236}">
                <a16:creationId xmlns:a16="http://schemas.microsoft.com/office/drawing/2014/main" id="{932A3493-ABBB-45CA-9276-98DBB548AAB7}"/>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2860177778"/>
      </p:ext>
    </p:extLst>
  </p:cSld>
  <p:clrMapOvr>
    <a:masterClrMapping/>
  </p:clrMapOvr>
  <mc:AlternateContent xmlns:mc="http://schemas.openxmlformats.org/markup-compatibility/2006">
    <mc:Choice xmlns:p14="http://schemas.microsoft.com/office/powerpoint/2010/main" Requires="p14">
      <p:transition spd="slow" p14:dur="2000" advTm="3771"/>
    </mc:Choice>
    <mc:Fallback>
      <p:transition spd="slow" advTm="377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553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799071-C668-45D0-BA0C-7D3510B005A2}"/>
              </a:ext>
            </a:extLst>
          </p:cNvPr>
          <p:cNvSpPr>
            <a:spLocks noGrp="1"/>
          </p:cNvSpPr>
          <p:nvPr>
            <p:ph type="body" sz="quarter" idx="11"/>
          </p:nvPr>
        </p:nvSpPr>
        <p:spPr/>
        <p:txBody>
          <a:bodyPr/>
          <a:lstStyle/>
          <a:p>
            <a:r>
              <a:rPr lang="en-US" dirty="0"/>
              <a:t>Mobility of neurodivergent people</a:t>
            </a:r>
          </a:p>
        </p:txBody>
      </p:sp>
      <p:sp>
        <p:nvSpPr>
          <p:cNvPr id="3" name="Title 2">
            <a:extLst>
              <a:ext uri="{FF2B5EF4-FFF2-40B4-BE49-F238E27FC236}">
                <a16:creationId xmlns:a16="http://schemas.microsoft.com/office/drawing/2014/main" id="{4A04CCCB-5A93-4316-BDC5-F8EB102EEE3F}"/>
              </a:ext>
            </a:extLst>
          </p:cNvPr>
          <p:cNvSpPr>
            <a:spLocks noGrp="1"/>
          </p:cNvSpPr>
          <p:nvPr>
            <p:ph type="title"/>
          </p:nvPr>
        </p:nvSpPr>
        <p:spPr/>
        <p:txBody>
          <a:bodyPr/>
          <a:lstStyle/>
          <a:p>
            <a:r>
              <a:rPr lang="fr-FR" dirty="0"/>
              <a:t>Introduction. </a:t>
            </a:r>
            <a:r>
              <a:rPr lang="fr-FR" sz="2000" cap="small" dirty="0" err="1"/>
              <a:t>Context</a:t>
            </a:r>
            <a:endParaRPr lang="en-US" cap="small" dirty="0"/>
          </a:p>
        </p:txBody>
      </p:sp>
      <p:sp>
        <p:nvSpPr>
          <p:cNvPr id="2" name="Footer Placeholder 1">
            <a:extLst>
              <a:ext uri="{FF2B5EF4-FFF2-40B4-BE49-F238E27FC236}">
                <a16:creationId xmlns:a16="http://schemas.microsoft.com/office/drawing/2014/main" id="{256F0DA0-51C4-4394-88FF-150896C67994}"/>
              </a:ext>
            </a:extLst>
          </p:cNvPr>
          <p:cNvSpPr>
            <a:spLocks noGrp="1"/>
          </p:cNvSpPr>
          <p:nvPr>
            <p:ph type="ftr" sz="quarter" idx="12"/>
          </p:nvPr>
        </p:nvSpPr>
        <p:spPr/>
        <p:txBody>
          <a:bodyPr/>
          <a:lstStyle/>
          <a:p>
            <a:r>
              <a:rPr lang="fr-FR"/>
              <a:t>HEALTHINFO 2022  |  HALISDEMIR Ufuk  |  16-20/10/2022</a:t>
            </a:r>
            <a:endParaRPr lang="fr-FR" dirty="0"/>
          </a:p>
        </p:txBody>
      </p:sp>
      <p:sp>
        <p:nvSpPr>
          <p:cNvPr id="15" name="TextBox 14">
            <a:extLst>
              <a:ext uri="{FF2B5EF4-FFF2-40B4-BE49-F238E27FC236}">
                <a16:creationId xmlns:a16="http://schemas.microsoft.com/office/drawing/2014/main" id="{21DF8806-EFB0-4E52-A3F0-6421923D6408}"/>
              </a:ext>
            </a:extLst>
          </p:cNvPr>
          <p:cNvSpPr txBox="1"/>
          <p:nvPr/>
        </p:nvSpPr>
        <p:spPr>
          <a:xfrm>
            <a:off x="551384" y="1824408"/>
            <a:ext cx="7421136" cy="369332"/>
          </a:xfrm>
          <a:prstGeom prst="rect">
            <a:avLst/>
          </a:prstGeom>
          <a:noFill/>
        </p:spPr>
        <p:txBody>
          <a:bodyPr wrap="square">
            <a:spAutoFit/>
          </a:bodyPr>
          <a:lstStyle/>
          <a:p>
            <a:r>
              <a:rPr lang="fr-FR" b="1" i="0" u="none" strike="noStrike" dirty="0">
                <a:solidFill>
                  <a:schemeClr val="accent3">
                    <a:lumMod val="75000"/>
                    <a:lumOff val="25000"/>
                  </a:schemeClr>
                </a:solidFill>
                <a:effectLst/>
                <a:latin typeface="Arial" panose="020B0604020202020204" pitchFamily="34" charset="0"/>
              </a:rPr>
              <a:t>700 000 </a:t>
            </a:r>
            <a:r>
              <a:rPr lang="fr-FR" b="1" i="0" u="none" strike="noStrike" dirty="0">
                <a:solidFill>
                  <a:srgbClr val="000000"/>
                </a:solidFill>
                <a:effectLst/>
                <a:latin typeface="Arial" panose="020B0604020202020204" pitchFamily="34" charset="0"/>
              </a:rPr>
              <a:t>people </a:t>
            </a:r>
            <a:r>
              <a:rPr lang="fr-FR" b="1" i="0" u="none" strike="noStrike" dirty="0" err="1">
                <a:solidFill>
                  <a:srgbClr val="000000"/>
                </a:solidFill>
                <a:effectLst/>
                <a:latin typeface="Arial" panose="020B0604020202020204" pitchFamily="34" charset="0"/>
              </a:rPr>
              <a:t>with</a:t>
            </a:r>
            <a:r>
              <a:rPr lang="fr-FR" b="1" i="0" u="none" strike="noStrike" dirty="0">
                <a:solidFill>
                  <a:srgbClr val="000000"/>
                </a:solidFill>
                <a:effectLst/>
                <a:latin typeface="Arial" panose="020B0604020202020204" pitchFamily="34" charset="0"/>
              </a:rPr>
              <a:t> </a:t>
            </a:r>
            <a:r>
              <a:rPr lang="fr-FR" b="1" i="0" u="none" strike="noStrike" dirty="0" err="1">
                <a:solidFill>
                  <a:srgbClr val="000000"/>
                </a:solidFill>
                <a:effectLst/>
                <a:latin typeface="Arial" panose="020B0604020202020204" pitchFamily="34" charset="0"/>
              </a:rPr>
              <a:t>disabilities</a:t>
            </a:r>
            <a:r>
              <a:rPr lang="fr-FR" b="1" i="0" u="none" strike="noStrike" dirty="0">
                <a:solidFill>
                  <a:srgbClr val="000000"/>
                </a:solidFill>
                <a:effectLst/>
                <a:latin typeface="Arial" panose="020B0604020202020204" pitchFamily="34" charset="0"/>
              </a:rPr>
              <a:t> in France.</a:t>
            </a:r>
            <a:r>
              <a:rPr lang="fr-FR" b="0" i="0" dirty="0">
                <a:solidFill>
                  <a:srgbClr val="000000"/>
                </a:solidFill>
                <a:effectLst/>
                <a:latin typeface="Arial" panose="020B0604020202020204" pitchFamily="34" charset="0"/>
              </a:rPr>
              <a:t>​</a:t>
            </a:r>
            <a:endParaRPr lang="en-US" dirty="0"/>
          </a:p>
        </p:txBody>
      </p:sp>
      <p:sp>
        <p:nvSpPr>
          <p:cNvPr id="16" name="Ellipse 42">
            <a:extLst>
              <a:ext uri="{FF2B5EF4-FFF2-40B4-BE49-F238E27FC236}">
                <a16:creationId xmlns:a16="http://schemas.microsoft.com/office/drawing/2014/main" id="{A6F48F52-D477-42F4-A896-A50028B06F97}"/>
              </a:ext>
            </a:extLst>
          </p:cNvPr>
          <p:cNvSpPr/>
          <p:nvPr/>
        </p:nvSpPr>
        <p:spPr>
          <a:xfrm>
            <a:off x="3647728" y="2614380"/>
            <a:ext cx="2073925" cy="682468"/>
          </a:xfrm>
          <a:prstGeom prst="ellipse">
            <a:avLst/>
          </a:prstGeom>
          <a:solidFill>
            <a:schemeClr val="bg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33" b="1" dirty="0">
                <a:solidFill>
                  <a:schemeClr val="tx1"/>
                </a:solidFill>
              </a:rPr>
              <a:t>Learning</a:t>
            </a:r>
          </a:p>
        </p:txBody>
      </p:sp>
      <p:sp>
        <p:nvSpPr>
          <p:cNvPr id="17" name="Ellipse 45">
            <a:extLst>
              <a:ext uri="{FF2B5EF4-FFF2-40B4-BE49-F238E27FC236}">
                <a16:creationId xmlns:a16="http://schemas.microsoft.com/office/drawing/2014/main" id="{110F722B-E461-4319-ADB5-1E0087E1F16D}"/>
              </a:ext>
            </a:extLst>
          </p:cNvPr>
          <p:cNvSpPr/>
          <p:nvPr/>
        </p:nvSpPr>
        <p:spPr>
          <a:xfrm>
            <a:off x="2788429" y="3735291"/>
            <a:ext cx="1639424" cy="555092"/>
          </a:xfrm>
          <a:prstGeom prst="ellipse">
            <a:avLst/>
          </a:prstGeom>
          <a:solidFill>
            <a:schemeClr val="bg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33" b="1" dirty="0">
                <a:solidFill>
                  <a:schemeClr val="tx1"/>
                </a:solidFill>
              </a:rPr>
              <a:t>Memory</a:t>
            </a:r>
          </a:p>
        </p:txBody>
      </p:sp>
      <p:sp>
        <p:nvSpPr>
          <p:cNvPr id="18" name="Ellipse 46">
            <a:extLst>
              <a:ext uri="{FF2B5EF4-FFF2-40B4-BE49-F238E27FC236}">
                <a16:creationId xmlns:a16="http://schemas.microsoft.com/office/drawing/2014/main" id="{3B194C3C-FBE2-45F6-BCC2-38FD2D11841D}"/>
              </a:ext>
            </a:extLst>
          </p:cNvPr>
          <p:cNvSpPr/>
          <p:nvPr/>
        </p:nvSpPr>
        <p:spPr>
          <a:xfrm>
            <a:off x="4879535" y="4812410"/>
            <a:ext cx="1639424" cy="555092"/>
          </a:xfrm>
          <a:prstGeom prst="ellipse">
            <a:avLst/>
          </a:prstGeom>
          <a:solidFill>
            <a:schemeClr val="bg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33" b="1" dirty="0">
                <a:solidFill>
                  <a:schemeClr val="tx1"/>
                </a:solidFill>
              </a:rPr>
              <a:t>Langage</a:t>
            </a:r>
          </a:p>
        </p:txBody>
      </p:sp>
      <p:sp>
        <p:nvSpPr>
          <p:cNvPr id="19" name="Ellipse 47">
            <a:extLst>
              <a:ext uri="{FF2B5EF4-FFF2-40B4-BE49-F238E27FC236}">
                <a16:creationId xmlns:a16="http://schemas.microsoft.com/office/drawing/2014/main" id="{066F45BD-1E60-413C-8029-773C2C5CED11}"/>
              </a:ext>
            </a:extLst>
          </p:cNvPr>
          <p:cNvSpPr/>
          <p:nvPr/>
        </p:nvSpPr>
        <p:spPr>
          <a:xfrm>
            <a:off x="6112760" y="2634858"/>
            <a:ext cx="1639424" cy="555092"/>
          </a:xfrm>
          <a:prstGeom prst="ellipse">
            <a:avLst/>
          </a:prstGeom>
          <a:solidFill>
            <a:schemeClr val="bg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33" b="1" dirty="0">
                <a:solidFill>
                  <a:schemeClr val="tx1"/>
                </a:solidFill>
              </a:rPr>
              <a:t>Focus attention</a:t>
            </a:r>
          </a:p>
        </p:txBody>
      </p:sp>
      <p:sp>
        <p:nvSpPr>
          <p:cNvPr id="20" name="Ellipse 48">
            <a:extLst>
              <a:ext uri="{FF2B5EF4-FFF2-40B4-BE49-F238E27FC236}">
                <a16:creationId xmlns:a16="http://schemas.microsoft.com/office/drawing/2014/main" id="{5DCB754F-1E47-4377-9EE4-91CEC720D1B7}"/>
              </a:ext>
            </a:extLst>
          </p:cNvPr>
          <p:cNvSpPr/>
          <p:nvPr/>
        </p:nvSpPr>
        <p:spPr>
          <a:xfrm>
            <a:off x="6970641" y="3454851"/>
            <a:ext cx="2003757" cy="1103772"/>
          </a:xfrm>
          <a:prstGeom prst="ellipse">
            <a:avLst/>
          </a:prstGeom>
          <a:solidFill>
            <a:schemeClr val="bg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33" b="1" dirty="0" err="1">
                <a:solidFill>
                  <a:schemeClr val="tx1"/>
                </a:solidFill>
              </a:rPr>
              <a:t>Space</a:t>
            </a:r>
            <a:r>
              <a:rPr lang="fr-FR" sz="1333" b="1" dirty="0">
                <a:solidFill>
                  <a:schemeClr val="tx1"/>
                </a:solidFill>
              </a:rPr>
              <a:t> and </a:t>
            </a:r>
            <a:r>
              <a:rPr lang="fr-FR" sz="1333" b="1" dirty="0" err="1">
                <a:solidFill>
                  <a:schemeClr val="tx1"/>
                </a:solidFill>
              </a:rPr>
              <a:t>timeperception</a:t>
            </a:r>
            <a:endParaRPr lang="fr-FR" sz="1333" b="1" dirty="0">
              <a:solidFill>
                <a:schemeClr val="tx1"/>
              </a:solidFill>
            </a:endParaRPr>
          </a:p>
        </p:txBody>
      </p:sp>
      <p:pic>
        <p:nvPicPr>
          <p:cNvPr id="1026" name="Picture 2" descr="Neurodivergent - Rainbow Infinity Symbol for Neurodiversity Actually  Autistic Pride Asperger's Autism ASD Acceptance &amp; Support&quot; Poster for Sale  by IntrovertInside | Redbubble">
            <a:extLst>
              <a:ext uri="{FF2B5EF4-FFF2-40B4-BE49-F238E27FC236}">
                <a16:creationId xmlns:a16="http://schemas.microsoft.com/office/drawing/2014/main" id="{2D6CE1FE-FEB7-4B4B-AE0A-9F0380F6062B}"/>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3250" t="34250" r="13250" b="34250"/>
          <a:stretch/>
        </p:blipFill>
        <p:spPr bwMode="auto">
          <a:xfrm>
            <a:off x="4549182" y="3513852"/>
            <a:ext cx="2300130" cy="985770"/>
          </a:xfrm>
          <a:prstGeom prst="rect">
            <a:avLst/>
          </a:prstGeom>
          <a:noFill/>
          <a:extLst>
            <a:ext uri="{909E8E84-426E-40DD-AFC4-6F175D3DCCD1}">
              <a14:hiddenFill xmlns:a14="http://schemas.microsoft.com/office/drawing/2010/main">
                <a:solidFill>
                  <a:srgbClr val="FFFFFF"/>
                </a:solidFill>
              </a14:hiddenFill>
            </a:ext>
          </a:extLst>
        </p:spPr>
      </p:pic>
      <p:pic>
        <p:nvPicPr>
          <p:cNvPr id="6" name="Audio 5">
            <a:hlinkClick r:id="" action="ppaction://media"/>
            <a:extLst>
              <a:ext uri="{FF2B5EF4-FFF2-40B4-BE49-F238E27FC236}">
                <a16:creationId xmlns:a16="http://schemas.microsoft.com/office/drawing/2014/main" id="{AD0F1CFC-09C3-4F8F-920F-4D2BF02F891F}"/>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2692149186"/>
      </p:ext>
    </p:extLst>
  </p:cSld>
  <p:clrMapOvr>
    <a:masterClrMapping/>
  </p:clrMapOvr>
  <mc:AlternateContent xmlns:mc="http://schemas.openxmlformats.org/markup-compatibility/2006">
    <mc:Choice xmlns:p14="http://schemas.microsoft.com/office/powerpoint/2010/main" Requires="p14">
      <p:transition spd="slow" p14:dur="2000" advTm="18237"/>
    </mc:Choice>
    <mc:Fallback>
      <p:transition spd="slow" advTm="1823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799071-C668-45D0-BA0C-7D3510B005A2}"/>
              </a:ext>
            </a:extLst>
          </p:cNvPr>
          <p:cNvSpPr>
            <a:spLocks noGrp="1"/>
          </p:cNvSpPr>
          <p:nvPr>
            <p:ph type="body" sz="quarter" idx="11"/>
          </p:nvPr>
        </p:nvSpPr>
        <p:spPr/>
        <p:txBody>
          <a:bodyPr/>
          <a:lstStyle/>
          <a:p>
            <a:r>
              <a:rPr lang="en-US" dirty="0"/>
              <a:t>How to help neurodivergent people gain more </a:t>
            </a:r>
            <a:r>
              <a:rPr lang="en-US" u="sng" dirty="0"/>
              <a:t>independence</a:t>
            </a:r>
          </a:p>
        </p:txBody>
      </p:sp>
      <p:sp>
        <p:nvSpPr>
          <p:cNvPr id="3" name="Title 2">
            <a:extLst>
              <a:ext uri="{FF2B5EF4-FFF2-40B4-BE49-F238E27FC236}">
                <a16:creationId xmlns:a16="http://schemas.microsoft.com/office/drawing/2014/main" id="{4A04CCCB-5A93-4316-BDC5-F8EB102EEE3F}"/>
              </a:ext>
            </a:extLst>
          </p:cNvPr>
          <p:cNvSpPr>
            <a:spLocks noGrp="1"/>
          </p:cNvSpPr>
          <p:nvPr>
            <p:ph type="title"/>
          </p:nvPr>
        </p:nvSpPr>
        <p:spPr/>
        <p:txBody>
          <a:bodyPr/>
          <a:lstStyle/>
          <a:p>
            <a:r>
              <a:rPr lang="fr-FR" dirty="0"/>
              <a:t>Introduction. </a:t>
            </a:r>
            <a:r>
              <a:rPr lang="fr-FR" sz="2000" cap="small" dirty="0" err="1"/>
              <a:t>Context</a:t>
            </a:r>
            <a:endParaRPr lang="en-US" dirty="0"/>
          </a:p>
        </p:txBody>
      </p:sp>
      <p:sp>
        <p:nvSpPr>
          <p:cNvPr id="2" name="Footer Placeholder 1">
            <a:extLst>
              <a:ext uri="{FF2B5EF4-FFF2-40B4-BE49-F238E27FC236}">
                <a16:creationId xmlns:a16="http://schemas.microsoft.com/office/drawing/2014/main" id="{256F0DA0-51C4-4394-88FF-150896C67994}"/>
              </a:ext>
            </a:extLst>
          </p:cNvPr>
          <p:cNvSpPr>
            <a:spLocks noGrp="1"/>
          </p:cNvSpPr>
          <p:nvPr>
            <p:ph type="ftr" sz="quarter" idx="12"/>
          </p:nvPr>
        </p:nvSpPr>
        <p:spPr/>
        <p:txBody>
          <a:bodyPr/>
          <a:lstStyle/>
          <a:p>
            <a:r>
              <a:rPr lang="fr-FR"/>
              <a:t>HEALTHINFO 2022  |  HALISDEMIR Ufuk  |  16-20/10/2022</a:t>
            </a:r>
            <a:endParaRPr lang="fr-FR" dirty="0"/>
          </a:p>
        </p:txBody>
      </p:sp>
      <p:pic>
        <p:nvPicPr>
          <p:cNvPr id="2050" name="Picture 2">
            <a:extLst>
              <a:ext uri="{FF2B5EF4-FFF2-40B4-BE49-F238E27FC236}">
                <a16:creationId xmlns:a16="http://schemas.microsoft.com/office/drawing/2014/main" id="{926FDD19-319A-403E-8217-1C59089E2D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4850" y="1877890"/>
            <a:ext cx="29622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Présentation PowerPoint">
            <a:extLst>
              <a:ext uri="{FF2B5EF4-FFF2-40B4-BE49-F238E27FC236}">
                <a16:creationId xmlns:a16="http://schemas.microsoft.com/office/drawing/2014/main" id="{EE63FA4A-9082-481D-9A5B-30568688E68F}"/>
              </a:ext>
            </a:extLst>
          </p:cNvPr>
          <p:cNvPicPr>
            <a:picLocks noChangeAspect="1" noChangeArrowheads="1"/>
          </p:cNvPicPr>
          <p:nvPr/>
        </p:nvPicPr>
        <p:blipFill>
          <a:blip r:embed="rId5">
            <a:clrChange>
              <a:clrFrom>
                <a:srgbClr val="EDEDED"/>
              </a:clrFrom>
              <a:clrTo>
                <a:srgbClr val="EDEDED">
                  <a:alpha val="0"/>
                </a:srgbClr>
              </a:clrTo>
            </a:clrChange>
            <a:extLst>
              <a:ext uri="{28A0092B-C50C-407E-A947-70E740481C1C}">
                <a14:useLocalDpi xmlns:a14="http://schemas.microsoft.com/office/drawing/2010/main" val="0"/>
              </a:ext>
            </a:extLst>
          </a:blip>
          <a:srcRect/>
          <a:stretch>
            <a:fillRect/>
          </a:stretch>
        </p:blipFill>
        <p:spPr bwMode="auto">
          <a:xfrm>
            <a:off x="5303912" y="2087293"/>
            <a:ext cx="57150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public transport app Icon - Free PNG &amp; SVG 1182593 - Noun Project">
            <a:extLst>
              <a:ext uri="{FF2B5EF4-FFF2-40B4-BE49-F238E27FC236}">
                <a16:creationId xmlns:a16="http://schemas.microsoft.com/office/drawing/2014/main" id="{7BD44B5B-3BBD-4008-9C28-7F6F32783F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2534" y="3717032"/>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Celebrating different minds during Neurodiversity Celebration Week |  Texthelp">
            <a:extLst>
              <a:ext uri="{FF2B5EF4-FFF2-40B4-BE49-F238E27FC236}">
                <a16:creationId xmlns:a16="http://schemas.microsoft.com/office/drawing/2014/main" id="{311E85EA-3854-4BCB-9651-9656C75EFD5A}"/>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58618" t="17131" r="3213" b="17131"/>
          <a:stretch/>
        </p:blipFill>
        <p:spPr bwMode="auto">
          <a:xfrm>
            <a:off x="5052065" y="5490317"/>
            <a:ext cx="1845469" cy="9525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B6B486D-B0AD-4F3A-912E-712FA487953E}"/>
              </a:ext>
            </a:extLst>
          </p:cNvPr>
          <p:cNvSpPr/>
          <p:nvPr/>
        </p:nvSpPr>
        <p:spPr>
          <a:xfrm>
            <a:off x="4272454" y="3429000"/>
            <a:ext cx="3240360" cy="324036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p>
        </p:txBody>
      </p:sp>
      <p:pic>
        <p:nvPicPr>
          <p:cNvPr id="4" name="Audio 3">
            <a:hlinkClick r:id="" action="ppaction://media"/>
            <a:extLst>
              <a:ext uri="{FF2B5EF4-FFF2-40B4-BE49-F238E27FC236}">
                <a16:creationId xmlns:a16="http://schemas.microsoft.com/office/drawing/2014/main" id="{751B1935-2EF6-4BC8-A45E-82C8B06DFCCE}"/>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3606498534"/>
      </p:ext>
    </p:extLst>
  </p:cSld>
  <p:clrMapOvr>
    <a:masterClrMapping/>
  </p:clrMapOvr>
  <mc:AlternateContent xmlns:mc="http://schemas.openxmlformats.org/markup-compatibility/2006">
    <mc:Choice xmlns:p14="http://schemas.microsoft.com/office/powerpoint/2010/main" Requires="p14">
      <p:transition spd="slow" p14:dur="2000" advTm="37161"/>
    </mc:Choice>
    <mc:Fallback>
      <p:transition spd="slow" advTm="3716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799071-C668-45D0-BA0C-7D3510B005A2}"/>
              </a:ext>
            </a:extLst>
          </p:cNvPr>
          <p:cNvSpPr>
            <a:spLocks noGrp="1"/>
          </p:cNvSpPr>
          <p:nvPr>
            <p:ph type="body" sz="quarter" idx="11"/>
          </p:nvPr>
        </p:nvSpPr>
        <p:spPr/>
        <p:txBody>
          <a:bodyPr/>
          <a:lstStyle/>
          <a:p>
            <a:r>
              <a:rPr lang="en-US" dirty="0"/>
              <a:t>How to help neurodivergent people gain more </a:t>
            </a:r>
            <a:r>
              <a:rPr lang="en-US" u="sng" dirty="0"/>
              <a:t>independence</a:t>
            </a:r>
          </a:p>
        </p:txBody>
      </p:sp>
      <p:sp>
        <p:nvSpPr>
          <p:cNvPr id="3" name="Title 2">
            <a:extLst>
              <a:ext uri="{FF2B5EF4-FFF2-40B4-BE49-F238E27FC236}">
                <a16:creationId xmlns:a16="http://schemas.microsoft.com/office/drawing/2014/main" id="{4A04CCCB-5A93-4316-BDC5-F8EB102EEE3F}"/>
              </a:ext>
            </a:extLst>
          </p:cNvPr>
          <p:cNvSpPr>
            <a:spLocks noGrp="1"/>
          </p:cNvSpPr>
          <p:nvPr>
            <p:ph type="title"/>
          </p:nvPr>
        </p:nvSpPr>
        <p:spPr/>
        <p:txBody>
          <a:bodyPr/>
          <a:lstStyle/>
          <a:p>
            <a:r>
              <a:rPr lang="fr-FR" dirty="0"/>
              <a:t>Introduction. </a:t>
            </a:r>
            <a:r>
              <a:rPr lang="fr-FR" sz="2000" cap="small" dirty="0" err="1"/>
              <a:t>Context</a:t>
            </a:r>
            <a:endParaRPr lang="en-US" dirty="0"/>
          </a:p>
        </p:txBody>
      </p:sp>
      <p:sp>
        <p:nvSpPr>
          <p:cNvPr id="2" name="Footer Placeholder 1">
            <a:extLst>
              <a:ext uri="{FF2B5EF4-FFF2-40B4-BE49-F238E27FC236}">
                <a16:creationId xmlns:a16="http://schemas.microsoft.com/office/drawing/2014/main" id="{256F0DA0-51C4-4394-88FF-150896C67994}"/>
              </a:ext>
            </a:extLst>
          </p:cNvPr>
          <p:cNvSpPr>
            <a:spLocks noGrp="1"/>
          </p:cNvSpPr>
          <p:nvPr>
            <p:ph type="ftr" sz="quarter" idx="12"/>
          </p:nvPr>
        </p:nvSpPr>
        <p:spPr/>
        <p:txBody>
          <a:bodyPr/>
          <a:lstStyle/>
          <a:p>
            <a:r>
              <a:rPr lang="fr-FR"/>
              <a:t>HEALTHINFO 2022  |  HALISDEMIR Ufuk  |  16-20/10/2022</a:t>
            </a:r>
            <a:endParaRPr lang="fr-FR" dirty="0"/>
          </a:p>
        </p:txBody>
      </p:sp>
      <p:pic>
        <p:nvPicPr>
          <p:cNvPr id="2050" name="Picture 2">
            <a:extLst>
              <a:ext uri="{FF2B5EF4-FFF2-40B4-BE49-F238E27FC236}">
                <a16:creationId xmlns:a16="http://schemas.microsoft.com/office/drawing/2014/main" id="{926FDD19-319A-403E-8217-1C59089E2D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1425" y="1877890"/>
            <a:ext cx="2088232" cy="671457"/>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3BD55E98-8D87-443F-A29A-6A78E5B5E8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8762" y="3060289"/>
            <a:ext cx="1828800" cy="3095625"/>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a:extLst>
              <a:ext uri="{FF2B5EF4-FFF2-40B4-BE49-F238E27FC236}">
                <a16:creationId xmlns:a16="http://schemas.microsoft.com/office/drawing/2014/main" id="{88B75247-488C-4BAE-B900-98EFF8261A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14619" y="3069814"/>
            <a:ext cx="2057400" cy="307657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F534E8DA-E441-4A1B-9851-8684668B78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49075" y="2912651"/>
            <a:ext cx="2105025" cy="33909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B0E3C34-8580-4D14-A695-F1C0DEA4C28A}"/>
              </a:ext>
            </a:extLst>
          </p:cNvPr>
          <p:cNvSpPr txBox="1"/>
          <p:nvPr/>
        </p:nvSpPr>
        <p:spPr>
          <a:xfrm>
            <a:off x="8583532" y="2454725"/>
            <a:ext cx="3608468" cy="1985159"/>
          </a:xfrm>
          <a:prstGeom prst="rect">
            <a:avLst/>
          </a:prstGeom>
          <a:noFill/>
        </p:spPr>
        <p:txBody>
          <a:bodyPr wrap="square" rtlCol="0">
            <a:spAutoFit/>
          </a:bodyPr>
          <a:lstStyle/>
          <a:p>
            <a:pPr>
              <a:spcAft>
                <a:spcPts val="600"/>
              </a:spcAft>
            </a:pPr>
            <a:r>
              <a:rPr lang="en-US" dirty="0"/>
              <a:t>Booklets:</a:t>
            </a:r>
          </a:p>
          <a:p>
            <a:pPr marL="285750" indent="-285750">
              <a:spcAft>
                <a:spcPts val="600"/>
              </a:spcAft>
              <a:buFont typeface="Arial" panose="020B0604020202020204" pitchFamily="34" charset="0"/>
              <a:buChar char="•"/>
            </a:pPr>
            <a:r>
              <a:rPr lang="en-US" dirty="0"/>
              <a:t>Methodologies developed by healthcare professionals</a:t>
            </a:r>
          </a:p>
          <a:p>
            <a:pPr marL="285750" indent="-285750">
              <a:spcAft>
                <a:spcPts val="600"/>
              </a:spcAft>
              <a:buFont typeface="Arial" panose="020B0604020202020204" pitchFamily="34" charset="0"/>
              <a:buChar char="•"/>
            </a:pPr>
            <a:r>
              <a:rPr lang="en-US" dirty="0"/>
              <a:t>Tailored for specific users</a:t>
            </a:r>
          </a:p>
          <a:p>
            <a:pPr marL="285750" indent="-285750">
              <a:spcAft>
                <a:spcPts val="600"/>
              </a:spcAft>
              <a:buFont typeface="Arial" panose="020B0604020202020204" pitchFamily="34" charset="0"/>
              <a:buChar char="•"/>
            </a:pPr>
            <a:r>
              <a:rPr lang="en-US" dirty="0"/>
              <a:t>Time consuming process for caregivers</a:t>
            </a:r>
          </a:p>
        </p:txBody>
      </p:sp>
      <p:pic>
        <p:nvPicPr>
          <p:cNvPr id="6" name="Audio 5">
            <a:hlinkClick r:id="" action="ppaction://media"/>
            <a:extLst>
              <a:ext uri="{FF2B5EF4-FFF2-40B4-BE49-F238E27FC236}">
                <a16:creationId xmlns:a16="http://schemas.microsoft.com/office/drawing/2014/main" id="{6D56D2DE-D1D6-488D-ACB0-B5A3ACD5AB7D}"/>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3963467821"/>
      </p:ext>
    </p:extLst>
  </p:cSld>
  <p:clrMapOvr>
    <a:masterClrMapping/>
  </p:clrMapOvr>
  <mc:AlternateContent xmlns:mc="http://schemas.openxmlformats.org/markup-compatibility/2006">
    <mc:Choice xmlns:p14="http://schemas.microsoft.com/office/powerpoint/2010/main" Requires="p14">
      <p:transition spd="slow" p14:dur="2000" advTm="39321"/>
    </mc:Choice>
    <mc:Fallback>
      <p:transition spd="slow" advTm="3932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799071-C668-45D0-BA0C-7D3510B005A2}"/>
              </a:ext>
            </a:extLst>
          </p:cNvPr>
          <p:cNvSpPr>
            <a:spLocks noGrp="1"/>
          </p:cNvSpPr>
          <p:nvPr>
            <p:ph type="body" sz="quarter" idx="11"/>
          </p:nvPr>
        </p:nvSpPr>
        <p:spPr/>
        <p:txBody>
          <a:bodyPr/>
          <a:lstStyle/>
          <a:p>
            <a:r>
              <a:rPr lang="en-US" dirty="0"/>
              <a:t>Co-development of a transport app adapted to people with disabilities</a:t>
            </a:r>
          </a:p>
        </p:txBody>
      </p:sp>
      <p:sp>
        <p:nvSpPr>
          <p:cNvPr id="3" name="Title 2">
            <a:extLst>
              <a:ext uri="{FF2B5EF4-FFF2-40B4-BE49-F238E27FC236}">
                <a16:creationId xmlns:a16="http://schemas.microsoft.com/office/drawing/2014/main" id="{4A04CCCB-5A93-4316-BDC5-F8EB102EEE3F}"/>
              </a:ext>
            </a:extLst>
          </p:cNvPr>
          <p:cNvSpPr>
            <a:spLocks noGrp="1"/>
          </p:cNvSpPr>
          <p:nvPr>
            <p:ph type="title"/>
          </p:nvPr>
        </p:nvSpPr>
        <p:spPr/>
        <p:txBody>
          <a:bodyPr/>
          <a:lstStyle/>
          <a:p>
            <a:r>
              <a:rPr lang="fr-FR" dirty="0"/>
              <a:t>Introduction. </a:t>
            </a:r>
            <a:r>
              <a:rPr lang="fr-FR" sz="2000" cap="small" dirty="0" err="1"/>
              <a:t>Context</a:t>
            </a:r>
            <a:endParaRPr lang="en-US" dirty="0"/>
          </a:p>
        </p:txBody>
      </p:sp>
      <p:sp>
        <p:nvSpPr>
          <p:cNvPr id="2" name="Footer Placeholder 1">
            <a:extLst>
              <a:ext uri="{FF2B5EF4-FFF2-40B4-BE49-F238E27FC236}">
                <a16:creationId xmlns:a16="http://schemas.microsoft.com/office/drawing/2014/main" id="{256F0DA0-51C4-4394-88FF-150896C67994}"/>
              </a:ext>
            </a:extLst>
          </p:cNvPr>
          <p:cNvSpPr>
            <a:spLocks noGrp="1"/>
          </p:cNvSpPr>
          <p:nvPr>
            <p:ph type="ftr" sz="quarter" idx="12"/>
          </p:nvPr>
        </p:nvSpPr>
        <p:spPr/>
        <p:txBody>
          <a:bodyPr/>
          <a:lstStyle/>
          <a:p>
            <a:r>
              <a:rPr lang="fr-FR"/>
              <a:t>HEALTHINFO 2022  |  HALISDEMIR Ufuk  |  16-20/10/2022</a:t>
            </a:r>
            <a:endParaRPr lang="fr-FR" dirty="0"/>
          </a:p>
        </p:txBody>
      </p:sp>
      <p:pic>
        <p:nvPicPr>
          <p:cNvPr id="3078" name="Picture 6">
            <a:extLst>
              <a:ext uri="{FF2B5EF4-FFF2-40B4-BE49-F238E27FC236}">
                <a16:creationId xmlns:a16="http://schemas.microsoft.com/office/drawing/2014/main" id="{5666111F-97CF-40C8-A109-782F30F0203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7408" y="1641091"/>
            <a:ext cx="7003620" cy="4875223"/>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4BA67E8-9651-4911-A605-816793D15337}"/>
              </a:ext>
            </a:extLst>
          </p:cNvPr>
          <p:cNvSpPr txBox="1"/>
          <p:nvPr/>
        </p:nvSpPr>
        <p:spPr>
          <a:xfrm>
            <a:off x="8131068" y="2139709"/>
            <a:ext cx="3608468" cy="3877985"/>
          </a:xfrm>
          <a:prstGeom prst="rect">
            <a:avLst/>
          </a:prstGeom>
          <a:noFill/>
        </p:spPr>
        <p:txBody>
          <a:bodyPr wrap="square" rtlCol="0">
            <a:spAutoFit/>
          </a:bodyPr>
          <a:lstStyle/>
          <a:p>
            <a:pPr>
              <a:spcAft>
                <a:spcPts val="600"/>
              </a:spcAft>
            </a:pPr>
            <a:r>
              <a:rPr lang="en-US" dirty="0"/>
              <a:t>Application :</a:t>
            </a:r>
          </a:p>
          <a:p>
            <a:pPr marL="342900" indent="-342900">
              <a:spcAft>
                <a:spcPts val="600"/>
              </a:spcAft>
              <a:buFont typeface="+mj-lt"/>
              <a:buAutoNum type="arabicPeriod"/>
            </a:pPr>
            <a:r>
              <a:rPr lang="en-US" dirty="0"/>
              <a:t>Create a journey</a:t>
            </a:r>
          </a:p>
          <a:p>
            <a:pPr lvl="1">
              <a:spcAft>
                <a:spcPts val="600"/>
              </a:spcAft>
            </a:pPr>
            <a:r>
              <a:rPr lang="en-US" dirty="0"/>
              <a:t>Many options to customize (pictograms, text, pictures, voice …)</a:t>
            </a:r>
          </a:p>
          <a:p>
            <a:pPr marL="342900" indent="-342900">
              <a:spcAft>
                <a:spcPts val="600"/>
              </a:spcAft>
              <a:buFont typeface="+mj-lt"/>
              <a:buAutoNum type="arabicPeriod"/>
            </a:pPr>
            <a:r>
              <a:rPr lang="en-US" dirty="0"/>
              <a:t>Visualize/modify a journey</a:t>
            </a:r>
          </a:p>
          <a:p>
            <a:pPr lvl="1">
              <a:spcAft>
                <a:spcPts val="600"/>
              </a:spcAft>
            </a:pPr>
            <a:r>
              <a:rPr lang="en-US" dirty="0"/>
              <a:t>Adapt the journey to gain more independence</a:t>
            </a:r>
          </a:p>
          <a:p>
            <a:pPr marL="342900" indent="-342900">
              <a:spcAft>
                <a:spcPts val="600"/>
              </a:spcAft>
              <a:buFont typeface="+mj-lt"/>
              <a:buAutoNum type="arabicPeriod"/>
            </a:pPr>
            <a:r>
              <a:rPr lang="en-US" dirty="0"/>
              <a:t>Navigate</a:t>
            </a:r>
          </a:p>
          <a:p>
            <a:pPr lvl="1">
              <a:spcAft>
                <a:spcPts val="600"/>
              </a:spcAft>
            </a:pPr>
            <a:r>
              <a:rPr lang="en-US" dirty="0"/>
              <a:t>Additional functionalities compared to booklet (GPS position, emergency call …)</a:t>
            </a:r>
          </a:p>
        </p:txBody>
      </p:sp>
      <p:pic>
        <p:nvPicPr>
          <p:cNvPr id="4" name="Audio 3">
            <a:hlinkClick r:id="" action="ppaction://media"/>
            <a:extLst>
              <a:ext uri="{FF2B5EF4-FFF2-40B4-BE49-F238E27FC236}">
                <a16:creationId xmlns:a16="http://schemas.microsoft.com/office/drawing/2014/main" id="{14F35BDE-A50E-427D-B063-8B148F8E361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1013490233"/>
      </p:ext>
    </p:extLst>
  </p:cSld>
  <p:clrMapOvr>
    <a:masterClrMapping/>
  </p:clrMapOvr>
  <mc:AlternateContent xmlns:mc="http://schemas.openxmlformats.org/markup-compatibility/2006">
    <mc:Choice xmlns:p14="http://schemas.microsoft.com/office/powerpoint/2010/main" Requires="p14">
      <p:transition spd="slow" p14:dur="2000" advTm="61519"/>
    </mc:Choice>
    <mc:Fallback>
      <p:transition spd="slow" advTm="6151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799071-C668-45D0-BA0C-7D3510B005A2}"/>
              </a:ext>
            </a:extLst>
          </p:cNvPr>
          <p:cNvSpPr>
            <a:spLocks noGrp="1"/>
          </p:cNvSpPr>
          <p:nvPr>
            <p:ph type="body" sz="quarter" idx="11"/>
          </p:nvPr>
        </p:nvSpPr>
        <p:spPr/>
        <p:txBody>
          <a:bodyPr/>
          <a:lstStyle/>
          <a:p>
            <a:r>
              <a:rPr lang="en-US" dirty="0"/>
              <a:t>Problem statement</a:t>
            </a:r>
          </a:p>
        </p:txBody>
      </p:sp>
      <p:sp>
        <p:nvSpPr>
          <p:cNvPr id="3" name="Title 2">
            <a:extLst>
              <a:ext uri="{FF2B5EF4-FFF2-40B4-BE49-F238E27FC236}">
                <a16:creationId xmlns:a16="http://schemas.microsoft.com/office/drawing/2014/main" id="{4A04CCCB-5A93-4316-BDC5-F8EB102EEE3F}"/>
              </a:ext>
            </a:extLst>
          </p:cNvPr>
          <p:cNvSpPr>
            <a:spLocks noGrp="1"/>
          </p:cNvSpPr>
          <p:nvPr>
            <p:ph type="title"/>
          </p:nvPr>
        </p:nvSpPr>
        <p:spPr/>
        <p:txBody>
          <a:bodyPr/>
          <a:lstStyle/>
          <a:p>
            <a:r>
              <a:rPr lang="fr-FR" dirty="0"/>
              <a:t>Introduction. </a:t>
            </a:r>
            <a:r>
              <a:rPr lang="en-US" sz="2000" cap="small" dirty="0"/>
              <a:t>Problem</a:t>
            </a:r>
            <a:r>
              <a:rPr lang="fr-FR" sz="2000" cap="small" dirty="0"/>
              <a:t> </a:t>
            </a:r>
            <a:r>
              <a:rPr lang="en-US" sz="2000" cap="small" dirty="0"/>
              <a:t>statement</a:t>
            </a:r>
            <a:endParaRPr lang="en-US" dirty="0"/>
          </a:p>
        </p:txBody>
      </p:sp>
      <p:sp>
        <p:nvSpPr>
          <p:cNvPr id="2" name="Footer Placeholder 1">
            <a:extLst>
              <a:ext uri="{FF2B5EF4-FFF2-40B4-BE49-F238E27FC236}">
                <a16:creationId xmlns:a16="http://schemas.microsoft.com/office/drawing/2014/main" id="{256F0DA0-51C4-4394-88FF-150896C67994}"/>
              </a:ext>
            </a:extLst>
          </p:cNvPr>
          <p:cNvSpPr>
            <a:spLocks noGrp="1"/>
          </p:cNvSpPr>
          <p:nvPr>
            <p:ph type="ftr" sz="quarter" idx="12"/>
          </p:nvPr>
        </p:nvSpPr>
        <p:spPr/>
        <p:txBody>
          <a:bodyPr/>
          <a:lstStyle/>
          <a:p>
            <a:r>
              <a:rPr lang="fr-FR"/>
              <a:t>HEALTHINFO 2022  |  HALISDEMIR Ufuk  |  16-20/10/2022</a:t>
            </a:r>
            <a:endParaRPr lang="fr-FR" dirty="0"/>
          </a:p>
        </p:txBody>
      </p:sp>
      <p:pic>
        <p:nvPicPr>
          <p:cNvPr id="7" name="Image 19">
            <a:extLst>
              <a:ext uri="{FF2B5EF4-FFF2-40B4-BE49-F238E27FC236}">
                <a16:creationId xmlns:a16="http://schemas.microsoft.com/office/drawing/2014/main" id="{68259473-C8F8-4D60-A0F9-A1B0B0E14D0E}"/>
              </a:ext>
            </a:extLst>
          </p:cNvPr>
          <p:cNvPicPr>
            <a:picLocks noChangeAspect="1"/>
          </p:cNvPicPr>
          <p:nvPr/>
        </p:nvPicPr>
        <p:blipFill rotWithShape="1">
          <a:blip r:embed="rId5"/>
          <a:srcRect l="1991" t="16049" r="35234"/>
          <a:stretch/>
        </p:blipFill>
        <p:spPr>
          <a:xfrm>
            <a:off x="479376" y="1968060"/>
            <a:ext cx="6336704" cy="3372354"/>
          </a:xfrm>
          <a:prstGeom prst="rect">
            <a:avLst/>
          </a:prstGeom>
        </p:spPr>
      </p:pic>
      <p:sp>
        <p:nvSpPr>
          <p:cNvPr id="8" name="TextBox 7">
            <a:extLst>
              <a:ext uri="{FF2B5EF4-FFF2-40B4-BE49-F238E27FC236}">
                <a16:creationId xmlns:a16="http://schemas.microsoft.com/office/drawing/2014/main" id="{A7AE3173-3AC9-43E9-BB97-BAA978DA0E2B}"/>
              </a:ext>
            </a:extLst>
          </p:cNvPr>
          <p:cNvSpPr txBox="1"/>
          <p:nvPr/>
        </p:nvSpPr>
        <p:spPr>
          <a:xfrm>
            <a:off x="7248128" y="3292599"/>
            <a:ext cx="4464496" cy="1077218"/>
          </a:xfrm>
          <a:prstGeom prst="rect">
            <a:avLst/>
          </a:prstGeom>
          <a:noFill/>
        </p:spPr>
        <p:txBody>
          <a:bodyPr wrap="square" rtlCol="0">
            <a:spAutoFit/>
          </a:bodyPr>
          <a:lstStyle/>
          <a:p>
            <a:pPr>
              <a:spcAft>
                <a:spcPts val="600"/>
              </a:spcAft>
            </a:pPr>
            <a:r>
              <a:rPr lang="en-US" b="1" dirty="0">
                <a:solidFill>
                  <a:srgbClr val="FF0000"/>
                </a:solidFill>
              </a:rPr>
              <a:t>Ergonomic design of the app</a:t>
            </a:r>
          </a:p>
          <a:p>
            <a:pPr>
              <a:spcAft>
                <a:spcPts val="600"/>
              </a:spcAft>
            </a:pPr>
            <a:r>
              <a:rPr lang="en-US" b="1" dirty="0">
                <a:solidFill>
                  <a:srgbClr val="FF0000"/>
                </a:solidFill>
              </a:rPr>
              <a:t>Clarity of information </a:t>
            </a:r>
          </a:p>
          <a:p>
            <a:pPr>
              <a:spcAft>
                <a:spcPts val="600"/>
              </a:spcAft>
            </a:pPr>
            <a:r>
              <a:rPr lang="en-US" b="1" dirty="0">
                <a:solidFill>
                  <a:srgbClr val="FF0000"/>
                </a:solidFill>
              </a:rPr>
              <a:t>Consistency of displayed information</a:t>
            </a:r>
          </a:p>
        </p:txBody>
      </p:sp>
      <p:pic>
        <p:nvPicPr>
          <p:cNvPr id="6" name="Audio 5">
            <a:hlinkClick r:id="" action="ppaction://media"/>
            <a:extLst>
              <a:ext uri="{FF2B5EF4-FFF2-40B4-BE49-F238E27FC236}">
                <a16:creationId xmlns:a16="http://schemas.microsoft.com/office/drawing/2014/main" id="{5F1D15C1-6C83-4B46-80CC-3538CF89302B}"/>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2009102477"/>
      </p:ext>
    </p:extLst>
  </p:cSld>
  <p:clrMapOvr>
    <a:masterClrMapping/>
  </p:clrMapOvr>
  <mc:AlternateContent xmlns:mc="http://schemas.openxmlformats.org/markup-compatibility/2006">
    <mc:Choice xmlns:p14="http://schemas.microsoft.com/office/powerpoint/2010/main" Requires="p14">
      <p:transition spd="slow" p14:dur="2000" advTm="25732"/>
    </mc:Choice>
    <mc:Fallback>
      <p:transition spd="slow" advTm="2573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799071-C668-45D0-BA0C-7D3510B005A2}"/>
              </a:ext>
            </a:extLst>
          </p:cNvPr>
          <p:cNvSpPr>
            <a:spLocks noGrp="1"/>
          </p:cNvSpPr>
          <p:nvPr>
            <p:ph type="body" sz="quarter" idx="11"/>
          </p:nvPr>
        </p:nvSpPr>
        <p:spPr/>
        <p:txBody>
          <a:bodyPr/>
          <a:lstStyle/>
          <a:p>
            <a:r>
              <a:rPr lang="en-US" sz="2000" dirty="0"/>
              <a:t>Quantitative and Qualitative Evaluation of a Navigation Application</a:t>
            </a:r>
            <a:endParaRPr lang="en-US" dirty="0"/>
          </a:p>
        </p:txBody>
      </p:sp>
      <p:sp>
        <p:nvSpPr>
          <p:cNvPr id="3" name="Title 2">
            <a:extLst>
              <a:ext uri="{FF2B5EF4-FFF2-40B4-BE49-F238E27FC236}">
                <a16:creationId xmlns:a16="http://schemas.microsoft.com/office/drawing/2014/main" id="{4A04CCCB-5A93-4316-BDC5-F8EB102EEE3F}"/>
              </a:ext>
            </a:extLst>
          </p:cNvPr>
          <p:cNvSpPr>
            <a:spLocks noGrp="1"/>
          </p:cNvSpPr>
          <p:nvPr>
            <p:ph type="title"/>
          </p:nvPr>
        </p:nvSpPr>
        <p:spPr/>
        <p:txBody>
          <a:bodyPr/>
          <a:lstStyle/>
          <a:p>
            <a:r>
              <a:rPr lang="fr-FR" dirty="0"/>
              <a:t>Introduction</a:t>
            </a:r>
            <a:endParaRPr lang="en-US" dirty="0"/>
          </a:p>
        </p:txBody>
      </p:sp>
      <p:sp>
        <p:nvSpPr>
          <p:cNvPr id="2" name="Footer Placeholder 1">
            <a:extLst>
              <a:ext uri="{FF2B5EF4-FFF2-40B4-BE49-F238E27FC236}">
                <a16:creationId xmlns:a16="http://schemas.microsoft.com/office/drawing/2014/main" id="{256F0DA0-51C4-4394-88FF-150896C67994}"/>
              </a:ext>
            </a:extLst>
          </p:cNvPr>
          <p:cNvSpPr>
            <a:spLocks noGrp="1"/>
          </p:cNvSpPr>
          <p:nvPr>
            <p:ph type="ftr" sz="quarter" idx="12"/>
          </p:nvPr>
        </p:nvSpPr>
        <p:spPr/>
        <p:txBody>
          <a:bodyPr/>
          <a:lstStyle/>
          <a:p>
            <a:r>
              <a:rPr lang="fr-FR"/>
              <a:t>HEALTHINFO 2022  |  HALISDEMIR Ufuk  |  16-20/10/2022</a:t>
            </a:r>
            <a:endParaRPr lang="fr-FR" dirty="0"/>
          </a:p>
        </p:txBody>
      </p:sp>
      <p:sp>
        <p:nvSpPr>
          <p:cNvPr id="17" name="TextBox 16">
            <a:extLst>
              <a:ext uri="{FF2B5EF4-FFF2-40B4-BE49-F238E27FC236}">
                <a16:creationId xmlns:a16="http://schemas.microsoft.com/office/drawing/2014/main" id="{66E12C97-39A4-460C-B681-0C512C23949F}"/>
              </a:ext>
            </a:extLst>
          </p:cNvPr>
          <p:cNvSpPr txBox="1"/>
          <p:nvPr/>
        </p:nvSpPr>
        <p:spPr>
          <a:xfrm>
            <a:off x="1312640" y="1975575"/>
            <a:ext cx="1512168" cy="369332"/>
          </a:xfrm>
          <a:prstGeom prst="rect">
            <a:avLst/>
          </a:prstGeom>
          <a:noFill/>
        </p:spPr>
        <p:txBody>
          <a:bodyPr wrap="square">
            <a:spAutoFit/>
          </a:bodyPr>
          <a:lstStyle/>
          <a:p>
            <a:r>
              <a:rPr lang="en-US" sz="1800" dirty="0"/>
              <a:t>Qualitative</a:t>
            </a:r>
            <a:endParaRPr lang="en-US" dirty="0"/>
          </a:p>
        </p:txBody>
      </p:sp>
      <p:sp>
        <p:nvSpPr>
          <p:cNvPr id="20" name="TextBox 19">
            <a:extLst>
              <a:ext uri="{FF2B5EF4-FFF2-40B4-BE49-F238E27FC236}">
                <a16:creationId xmlns:a16="http://schemas.microsoft.com/office/drawing/2014/main" id="{F85BC56E-1E7D-4108-8A4C-E31A2B43E75C}"/>
              </a:ext>
            </a:extLst>
          </p:cNvPr>
          <p:cNvSpPr txBox="1"/>
          <p:nvPr/>
        </p:nvSpPr>
        <p:spPr>
          <a:xfrm>
            <a:off x="7680176" y="1975575"/>
            <a:ext cx="1512168" cy="369332"/>
          </a:xfrm>
          <a:prstGeom prst="rect">
            <a:avLst/>
          </a:prstGeom>
          <a:noFill/>
        </p:spPr>
        <p:txBody>
          <a:bodyPr wrap="square">
            <a:spAutoFit/>
          </a:bodyPr>
          <a:lstStyle/>
          <a:p>
            <a:r>
              <a:rPr lang="en-US" sz="1800" dirty="0"/>
              <a:t>Quantitative</a:t>
            </a:r>
            <a:endParaRPr lang="en-US" dirty="0"/>
          </a:p>
        </p:txBody>
      </p:sp>
      <p:pic>
        <p:nvPicPr>
          <p:cNvPr id="22" name="Image 4">
            <a:extLst>
              <a:ext uri="{FF2B5EF4-FFF2-40B4-BE49-F238E27FC236}">
                <a16:creationId xmlns:a16="http://schemas.microsoft.com/office/drawing/2014/main" id="{C6980ABB-8075-468E-A0A4-AA30DA2209A2}"/>
              </a:ext>
            </a:extLst>
          </p:cNvPr>
          <p:cNvPicPr>
            <a:picLocks noChangeAspect="1"/>
          </p:cNvPicPr>
          <p:nvPr/>
        </p:nvPicPr>
        <p:blipFill rotWithShape="1">
          <a:blip r:embed="rId5"/>
          <a:srcRect r="74974"/>
          <a:stretch/>
        </p:blipFill>
        <p:spPr>
          <a:xfrm>
            <a:off x="839416" y="2820155"/>
            <a:ext cx="2160239" cy="2983187"/>
          </a:xfrm>
          <a:prstGeom prst="rect">
            <a:avLst/>
          </a:prstGeom>
        </p:spPr>
      </p:pic>
      <p:sp>
        <p:nvSpPr>
          <p:cNvPr id="7" name="TextBox 6">
            <a:extLst>
              <a:ext uri="{FF2B5EF4-FFF2-40B4-BE49-F238E27FC236}">
                <a16:creationId xmlns:a16="http://schemas.microsoft.com/office/drawing/2014/main" id="{9F22DA1B-DCD5-49EE-9C9A-271BABBC018A}"/>
              </a:ext>
            </a:extLst>
          </p:cNvPr>
          <p:cNvSpPr txBox="1"/>
          <p:nvPr/>
        </p:nvSpPr>
        <p:spPr>
          <a:xfrm>
            <a:off x="623392" y="2450823"/>
            <a:ext cx="1343638" cy="307777"/>
          </a:xfrm>
          <a:prstGeom prst="rect">
            <a:avLst/>
          </a:prstGeom>
          <a:noFill/>
        </p:spPr>
        <p:txBody>
          <a:bodyPr wrap="none" rtlCol="0">
            <a:spAutoFit/>
          </a:bodyPr>
          <a:lstStyle/>
          <a:p>
            <a:r>
              <a:rPr lang="en-US" sz="1400" dirty="0"/>
              <a:t>Questionnaire</a:t>
            </a:r>
          </a:p>
        </p:txBody>
      </p:sp>
      <p:sp>
        <p:nvSpPr>
          <p:cNvPr id="23" name="TextBox 22">
            <a:extLst>
              <a:ext uri="{FF2B5EF4-FFF2-40B4-BE49-F238E27FC236}">
                <a16:creationId xmlns:a16="http://schemas.microsoft.com/office/drawing/2014/main" id="{F598A707-BC61-4BE5-A602-16B3231306E4}"/>
              </a:ext>
            </a:extLst>
          </p:cNvPr>
          <p:cNvSpPr txBox="1"/>
          <p:nvPr/>
        </p:nvSpPr>
        <p:spPr>
          <a:xfrm>
            <a:off x="6336538" y="2450823"/>
            <a:ext cx="1736373" cy="307777"/>
          </a:xfrm>
          <a:prstGeom prst="rect">
            <a:avLst/>
          </a:prstGeom>
          <a:noFill/>
        </p:spPr>
        <p:txBody>
          <a:bodyPr wrap="none" rtlCol="0">
            <a:spAutoFit/>
          </a:bodyPr>
          <a:lstStyle/>
          <a:p>
            <a:r>
              <a:rPr lang="en-US" sz="1400" dirty="0"/>
              <a:t>Journey simulation</a:t>
            </a:r>
          </a:p>
        </p:txBody>
      </p:sp>
      <p:pic>
        <p:nvPicPr>
          <p:cNvPr id="24" name="Image 14">
            <a:extLst>
              <a:ext uri="{FF2B5EF4-FFF2-40B4-BE49-F238E27FC236}">
                <a16:creationId xmlns:a16="http://schemas.microsoft.com/office/drawing/2014/main" id="{3B3D716B-FD8F-4778-94FF-F0B5E40EA34F}"/>
              </a:ext>
            </a:extLst>
          </p:cNvPr>
          <p:cNvPicPr>
            <a:picLocks noChangeAspect="1"/>
          </p:cNvPicPr>
          <p:nvPr/>
        </p:nvPicPr>
        <p:blipFill>
          <a:blip r:embed="rId6"/>
          <a:stretch>
            <a:fillRect/>
          </a:stretch>
        </p:blipFill>
        <p:spPr>
          <a:xfrm>
            <a:off x="6498671" y="3185431"/>
            <a:ext cx="1412106" cy="2655323"/>
          </a:xfrm>
          <a:prstGeom prst="rect">
            <a:avLst/>
          </a:prstGeom>
        </p:spPr>
      </p:pic>
      <p:pic>
        <p:nvPicPr>
          <p:cNvPr id="25" name="Image 12">
            <a:extLst>
              <a:ext uri="{FF2B5EF4-FFF2-40B4-BE49-F238E27FC236}">
                <a16:creationId xmlns:a16="http://schemas.microsoft.com/office/drawing/2014/main" id="{88835D57-77B5-4692-A69A-2334A307598F}"/>
              </a:ext>
            </a:extLst>
          </p:cNvPr>
          <p:cNvPicPr>
            <a:picLocks noChangeAspect="1"/>
          </p:cNvPicPr>
          <p:nvPr/>
        </p:nvPicPr>
        <p:blipFill>
          <a:blip r:embed="rId7"/>
          <a:stretch>
            <a:fillRect/>
          </a:stretch>
        </p:blipFill>
        <p:spPr>
          <a:xfrm>
            <a:off x="8256240" y="3021500"/>
            <a:ext cx="3391368" cy="2983187"/>
          </a:xfrm>
          <a:prstGeom prst="rect">
            <a:avLst/>
          </a:prstGeom>
        </p:spPr>
      </p:pic>
      <p:pic>
        <p:nvPicPr>
          <p:cNvPr id="8" name="Audio 7">
            <a:hlinkClick r:id="" action="ppaction://media"/>
            <a:extLst>
              <a:ext uri="{FF2B5EF4-FFF2-40B4-BE49-F238E27FC236}">
                <a16:creationId xmlns:a16="http://schemas.microsoft.com/office/drawing/2014/main" id="{FB93A30C-3722-44F0-8E23-7A47A6CD67DF}"/>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3163402756"/>
      </p:ext>
    </p:extLst>
  </p:cSld>
  <p:clrMapOvr>
    <a:masterClrMapping/>
  </p:clrMapOvr>
  <mc:AlternateContent xmlns:mc="http://schemas.openxmlformats.org/markup-compatibility/2006">
    <mc:Choice xmlns:p14="http://schemas.microsoft.com/office/powerpoint/2010/main" Requires="p14">
      <p:transition spd="slow" p14:dur="2000" advTm="17843"/>
    </mc:Choice>
    <mc:Fallback>
      <p:transition spd="slow" advTm="1784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799071-C668-45D0-BA0C-7D3510B005A2}"/>
              </a:ext>
            </a:extLst>
          </p:cNvPr>
          <p:cNvSpPr>
            <a:spLocks noGrp="1"/>
          </p:cNvSpPr>
          <p:nvPr>
            <p:ph type="body" sz="quarter" idx="11"/>
          </p:nvPr>
        </p:nvSpPr>
        <p:spPr/>
        <p:txBody>
          <a:bodyPr/>
          <a:lstStyle/>
          <a:p>
            <a:r>
              <a:rPr lang="en-US" dirty="0"/>
              <a:t>Questionnaire</a:t>
            </a:r>
          </a:p>
        </p:txBody>
      </p:sp>
      <p:sp>
        <p:nvSpPr>
          <p:cNvPr id="3" name="Title 2">
            <a:extLst>
              <a:ext uri="{FF2B5EF4-FFF2-40B4-BE49-F238E27FC236}">
                <a16:creationId xmlns:a16="http://schemas.microsoft.com/office/drawing/2014/main" id="{4A04CCCB-5A93-4316-BDC5-F8EB102EEE3F}"/>
              </a:ext>
            </a:extLst>
          </p:cNvPr>
          <p:cNvSpPr>
            <a:spLocks noGrp="1"/>
          </p:cNvSpPr>
          <p:nvPr>
            <p:ph type="title"/>
          </p:nvPr>
        </p:nvSpPr>
        <p:spPr/>
        <p:txBody>
          <a:bodyPr/>
          <a:lstStyle/>
          <a:p>
            <a:r>
              <a:rPr lang="fr-FR" dirty="0"/>
              <a:t>Methods</a:t>
            </a:r>
            <a:endParaRPr lang="en-US" dirty="0"/>
          </a:p>
        </p:txBody>
      </p:sp>
      <p:sp>
        <p:nvSpPr>
          <p:cNvPr id="2" name="Footer Placeholder 1">
            <a:extLst>
              <a:ext uri="{FF2B5EF4-FFF2-40B4-BE49-F238E27FC236}">
                <a16:creationId xmlns:a16="http://schemas.microsoft.com/office/drawing/2014/main" id="{256F0DA0-51C4-4394-88FF-150896C67994}"/>
              </a:ext>
            </a:extLst>
          </p:cNvPr>
          <p:cNvSpPr>
            <a:spLocks noGrp="1"/>
          </p:cNvSpPr>
          <p:nvPr>
            <p:ph type="ftr" sz="quarter" idx="12"/>
          </p:nvPr>
        </p:nvSpPr>
        <p:spPr/>
        <p:txBody>
          <a:bodyPr/>
          <a:lstStyle/>
          <a:p>
            <a:r>
              <a:rPr lang="fr-FR" dirty="0"/>
              <a:t>HEALTHINFO 2022  |  HALISDEMIR Ufuk  |  16-20/10/2022</a:t>
            </a:r>
          </a:p>
        </p:txBody>
      </p:sp>
      <p:pic>
        <p:nvPicPr>
          <p:cNvPr id="20" name="Image 4">
            <a:extLst>
              <a:ext uri="{FF2B5EF4-FFF2-40B4-BE49-F238E27FC236}">
                <a16:creationId xmlns:a16="http://schemas.microsoft.com/office/drawing/2014/main" id="{A5D765CD-43A2-4BAB-BAE8-140171825412}"/>
              </a:ext>
            </a:extLst>
          </p:cNvPr>
          <p:cNvPicPr>
            <a:picLocks noChangeAspect="1"/>
          </p:cNvPicPr>
          <p:nvPr/>
        </p:nvPicPr>
        <p:blipFill>
          <a:blip r:embed="rId5"/>
          <a:stretch>
            <a:fillRect/>
          </a:stretch>
        </p:blipFill>
        <p:spPr>
          <a:xfrm>
            <a:off x="74613" y="1608366"/>
            <a:ext cx="12084907" cy="4176464"/>
          </a:xfrm>
          <a:prstGeom prst="rect">
            <a:avLst/>
          </a:prstGeom>
        </p:spPr>
      </p:pic>
      <p:sp>
        <p:nvSpPr>
          <p:cNvPr id="22" name="TextBox 21">
            <a:extLst>
              <a:ext uri="{FF2B5EF4-FFF2-40B4-BE49-F238E27FC236}">
                <a16:creationId xmlns:a16="http://schemas.microsoft.com/office/drawing/2014/main" id="{EA1AE19C-F86E-427D-ADF1-5A2C9642D0F6}"/>
              </a:ext>
            </a:extLst>
          </p:cNvPr>
          <p:cNvSpPr txBox="1"/>
          <p:nvPr/>
        </p:nvSpPr>
        <p:spPr>
          <a:xfrm>
            <a:off x="373881" y="5900370"/>
            <a:ext cx="11265531" cy="830997"/>
          </a:xfrm>
          <a:prstGeom prst="rect">
            <a:avLst/>
          </a:prstGeom>
          <a:noFill/>
        </p:spPr>
        <p:txBody>
          <a:bodyPr wrap="square">
            <a:spAutoFit/>
          </a:bodyPr>
          <a:lstStyle/>
          <a:p>
            <a:r>
              <a:rPr lang="en-US" sz="1200" dirty="0">
                <a:effectLst/>
                <a:latin typeface="Times New Roman" panose="02020603050405020304" pitchFamily="18" charset="0"/>
                <a:ea typeface="SimSun" panose="02010600030101010101" pitchFamily="2" charset="-122"/>
              </a:rPr>
              <a:t>Inspired from :</a:t>
            </a:r>
          </a:p>
          <a:p>
            <a:pPr marL="228600" indent="-228600">
              <a:buFont typeface="+mj-lt"/>
              <a:buAutoNum type="arabicPeriod"/>
            </a:pPr>
            <a:r>
              <a:rPr lang="en-US" sz="1200" dirty="0">
                <a:effectLst/>
                <a:latin typeface="Times New Roman" panose="02020603050405020304" pitchFamily="18" charset="0"/>
                <a:ea typeface="SimSun" panose="02010600030101010101" pitchFamily="2" charset="-122"/>
              </a:rPr>
              <a:t>N. N. Patel and P. </a:t>
            </a:r>
            <a:r>
              <a:rPr lang="en-US" sz="1200" dirty="0" err="1">
                <a:effectLst/>
                <a:latin typeface="Times New Roman" panose="02020603050405020304" pitchFamily="18" charset="0"/>
                <a:ea typeface="SimSun" panose="02010600030101010101" pitchFamily="2" charset="-122"/>
              </a:rPr>
              <a:t>Dalal</a:t>
            </a:r>
            <a:r>
              <a:rPr lang="en-US" sz="1200" dirty="0">
                <a:effectLst/>
                <a:latin typeface="Times New Roman" panose="02020603050405020304" pitchFamily="18" charset="0"/>
                <a:ea typeface="SimSun" panose="02010600030101010101" pitchFamily="2" charset="-122"/>
              </a:rPr>
              <a:t>, “Usability evaluation of mobile applications.” International Journal of Engineering Research &amp; Technology (IJERT), 2(11), pp. 299-302, 2013</a:t>
            </a:r>
          </a:p>
          <a:p>
            <a:pPr marL="228600" indent="-228600">
              <a:buFont typeface="+mj-lt"/>
              <a:buAutoNum type="arabicPeriod"/>
            </a:pPr>
            <a:r>
              <a:rPr lang="en-US" sz="1200" dirty="0">
                <a:effectLst/>
                <a:latin typeface="Times New Roman" panose="02020603050405020304" pitchFamily="18" charset="0"/>
                <a:ea typeface="MS Mincho" panose="02020609040205080304" pitchFamily="49" charset="-128"/>
              </a:rPr>
              <a:t>R. </a:t>
            </a:r>
            <a:r>
              <a:rPr lang="en-US" sz="1200" dirty="0" err="1">
                <a:effectLst/>
                <a:latin typeface="Times New Roman" panose="02020603050405020304" pitchFamily="18" charset="0"/>
                <a:ea typeface="MS Mincho" panose="02020609040205080304" pitchFamily="49" charset="-128"/>
              </a:rPr>
              <a:t>Alturki</a:t>
            </a:r>
            <a:r>
              <a:rPr lang="en-US" sz="1200" dirty="0">
                <a:effectLst/>
                <a:latin typeface="Times New Roman" panose="02020603050405020304" pitchFamily="18" charset="0"/>
                <a:ea typeface="MS Mincho" panose="02020609040205080304" pitchFamily="49" charset="-128"/>
              </a:rPr>
              <a:t> and V. Gay, “Usability attributes for mobile applications: a systematic review.” Recent Trends and Advances in Wireless and IoT-Enabled Networks, pp. 53-62, 2019.</a:t>
            </a:r>
          </a:p>
          <a:p>
            <a:endParaRPr lang="en-US" sz="1200" dirty="0"/>
          </a:p>
        </p:txBody>
      </p:sp>
      <p:pic>
        <p:nvPicPr>
          <p:cNvPr id="4" name="Audio 3">
            <a:hlinkClick r:id="" action="ppaction://media"/>
            <a:extLst>
              <a:ext uri="{FF2B5EF4-FFF2-40B4-BE49-F238E27FC236}">
                <a16:creationId xmlns:a16="http://schemas.microsoft.com/office/drawing/2014/main" id="{CA7908E6-80DD-468A-9740-1558B62A7C24}"/>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1857638939"/>
      </p:ext>
    </p:extLst>
  </p:cSld>
  <p:clrMapOvr>
    <a:masterClrMapping/>
  </p:clrMapOvr>
  <mc:AlternateContent xmlns:mc="http://schemas.openxmlformats.org/markup-compatibility/2006">
    <mc:Choice xmlns:p14="http://schemas.microsoft.com/office/powerpoint/2010/main" Requires="p14">
      <p:transition spd="slow" p14:dur="2000" advTm="55153"/>
    </mc:Choice>
    <mc:Fallback>
      <p:transition spd="slow" advTm="5515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799071-C668-45D0-BA0C-7D3510B005A2}"/>
              </a:ext>
            </a:extLst>
          </p:cNvPr>
          <p:cNvSpPr>
            <a:spLocks noGrp="1"/>
          </p:cNvSpPr>
          <p:nvPr>
            <p:ph type="body" sz="quarter" idx="11"/>
          </p:nvPr>
        </p:nvSpPr>
        <p:spPr/>
        <p:txBody>
          <a:bodyPr/>
          <a:lstStyle/>
          <a:p>
            <a:r>
              <a:rPr lang="en-US" sz="2000" dirty="0"/>
              <a:t>Navigation by the nearest position of steps vs Navigation by circles of steps</a:t>
            </a:r>
            <a:endParaRPr lang="en-US" dirty="0"/>
          </a:p>
        </p:txBody>
      </p:sp>
      <p:sp>
        <p:nvSpPr>
          <p:cNvPr id="3" name="Title 2">
            <a:extLst>
              <a:ext uri="{FF2B5EF4-FFF2-40B4-BE49-F238E27FC236}">
                <a16:creationId xmlns:a16="http://schemas.microsoft.com/office/drawing/2014/main" id="{4A04CCCB-5A93-4316-BDC5-F8EB102EEE3F}"/>
              </a:ext>
            </a:extLst>
          </p:cNvPr>
          <p:cNvSpPr>
            <a:spLocks noGrp="1"/>
          </p:cNvSpPr>
          <p:nvPr>
            <p:ph type="title"/>
          </p:nvPr>
        </p:nvSpPr>
        <p:spPr/>
        <p:txBody>
          <a:bodyPr/>
          <a:lstStyle/>
          <a:p>
            <a:r>
              <a:rPr lang="fr-FR" dirty="0"/>
              <a:t>Methods</a:t>
            </a:r>
            <a:endParaRPr lang="en-US" dirty="0"/>
          </a:p>
        </p:txBody>
      </p:sp>
      <p:sp>
        <p:nvSpPr>
          <p:cNvPr id="2" name="Footer Placeholder 1">
            <a:extLst>
              <a:ext uri="{FF2B5EF4-FFF2-40B4-BE49-F238E27FC236}">
                <a16:creationId xmlns:a16="http://schemas.microsoft.com/office/drawing/2014/main" id="{256F0DA0-51C4-4394-88FF-150896C67994}"/>
              </a:ext>
            </a:extLst>
          </p:cNvPr>
          <p:cNvSpPr>
            <a:spLocks noGrp="1"/>
          </p:cNvSpPr>
          <p:nvPr>
            <p:ph type="ftr" sz="quarter" idx="12"/>
          </p:nvPr>
        </p:nvSpPr>
        <p:spPr/>
        <p:txBody>
          <a:bodyPr/>
          <a:lstStyle/>
          <a:p>
            <a:r>
              <a:rPr lang="fr-FR" dirty="0"/>
              <a:t>HEALTHINFO 2022  |  HALISDEMIR Ufuk  |  16-20/10/2022</a:t>
            </a:r>
          </a:p>
        </p:txBody>
      </p:sp>
      <p:grpSp>
        <p:nvGrpSpPr>
          <p:cNvPr id="16" name="Groupe 11">
            <a:extLst>
              <a:ext uri="{FF2B5EF4-FFF2-40B4-BE49-F238E27FC236}">
                <a16:creationId xmlns:a16="http://schemas.microsoft.com/office/drawing/2014/main" id="{A2447BD2-107C-46A2-8496-D2CA4E19BCA8}"/>
              </a:ext>
            </a:extLst>
          </p:cNvPr>
          <p:cNvGrpSpPr/>
          <p:nvPr/>
        </p:nvGrpSpPr>
        <p:grpSpPr>
          <a:xfrm>
            <a:off x="263352" y="2007089"/>
            <a:ext cx="2770880" cy="2732573"/>
            <a:chOff x="2135560" y="2171650"/>
            <a:chExt cx="3120967" cy="2894025"/>
          </a:xfrm>
        </p:grpSpPr>
        <p:pic>
          <p:nvPicPr>
            <p:cNvPr id="18" name="Image 8">
              <a:extLst>
                <a:ext uri="{FF2B5EF4-FFF2-40B4-BE49-F238E27FC236}">
                  <a16:creationId xmlns:a16="http://schemas.microsoft.com/office/drawing/2014/main" id="{2C902633-CA9B-48C8-B4CD-90CD59A746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5560" y="2171650"/>
              <a:ext cx="3120967" cy="1107996"/>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 9">
              <a:extLst>
                <a:ext uri="{FF2B5EF4-FFF2-40B4-BE49-F238E27FC236}">
                  <a16:creationId xmlns:a16="http://schemas.microsoft.com/office/drawing/2014/main" id="{D4142AB4-0C43-490F-80BB-95A04CAE33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7568" y="3136362"/>
              <a:ext cx="3009781" cy="931599"/>
            </a:xfrm>
            <a:prstGeom prst="rect">
              <a:avLst/>
            </a:prstGeom>
            <a:noFill/>
            <a:extLst>
              <a:ext uri="{909E8E84-426E-40DD-AFC4-6F175D3DCCD1}">
                <a14:hiddenFill xmlns:a14="http://schemas.microsoft.com/office/drawing/2010/main">
                  <a:solidFill>
                    <a:srgbClr val="FFFFFF"/>
                  </a:solidFill>
                </a14:hiddenFill>
              </a:ext>
            </a:extLst>
          </p:spPr>
        </p:pic>
        <p:pic>
          <p:nvPicPr>
            <p:cNvPr id="21" name="Image 10">
              <a:extLst>
                <a:ext uri="{FF2B5EF4-FFF2-40B4-BE49-F238E27FC236}">
                  <a16:creationId xmlns:a16="http://schemas.microsoft.com/office/drawing/2014/main" id="{6A66C1EA-8BF8-4007-9F0A-C9139013FE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0171" y="4084171"/>
              <a:ext cx="2879725" cy="981504"/>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Rectangle 3">
            <a:extLst>
              <a:ext uri="{FF2B5EF4-FFF2-40B4-BE49-F238E27FC236}">
                <a16:creationId xmlns:a16="http://schemas.microsoft.com/office/drawing/2014/main" id="{2FC57848-BE30-4FAD-AA98-336D5BE28ECA}"/>
              </a:ext>
            </a:extLst>
          </p:cNvPr>
          <p:cNvSpPr/>
          <p:nvPr/>
        </p:nvSpPr>
        <p:spPr>
          <a:xfrm>
            <a:off x="1127448" y="2165055"/>
            <a:ext cx="864096"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Step 1</a:t>
            </a:r>
          </a:p>
        </p:txBody>
      </p:sp>
      <p:sp>
        <p:nvSpPr>
          <p:cNvPr id="27" name="Rectangle 26">
            <a:extLst>
              <a:ext uri="{FF2B5EF4-FFF2-40B4-BE49-F238E27FC236}">
                <a16:creationId xmlns:a16="http://schemas.microsoft.com/office/drawing/2014/main" id="{8441B777-AC99-4615-A007-54B33BE5CE3B}"/>
              </a:ext>
            </a:extLst>
          </p:cNvPr>
          <p:cNvSpPr/>
          <p:nvPr/>
        </p:nvSpPr>
        <p:spPr>
          <a:xfrm>
            <a:off x="1127448" y="2917982"/>
            <a:ext cx="1008112"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No step</a:t>
            </a:r>
          </a:p>
        </p:txBody>
      </p:sp>
      <p:sp>
        <p:nvSpPr>
          <p:cNvPr id="28" name="Rectangle 27">
            <a:extLst>
              <a:ext uri="{FF2B5EF4-FFF2-40B4-BE49-F238E27FC236}">
                <a16:creationId xmlns:a16="http://schemas.microsoft.com/office/drawing/2014/main" id="{55E88822-7758-4A7E-997D-232AD44E63D0}"/>
              </a:ext>
            </a:extLst>
          </p:cNvPr>
          <p:cNvSpPr/>
          <p:nvPr/>
        </p:nvSpPr>
        <p:spPr>
          <a:xfrm>
            <a:off x="1127448" y="3868210"/>
            <a:ext cx="1008112"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Step 2</a:t>
            </a:r>
          </a:p>
        </p:txBody>
      </p:sp>
      <p:pic>
        <p:nvPicPr>
          <p:cNvPr id="6" name="Picture 5">
            <a:extLst>
              <a:ext uri="{FF2B5EF4-FFF2-40B4-BE49-F238E27FC236}">
                <a16:creationId xmlns:a16="http://schemas.microsoft.com/office/drawing/2014/main" id="{FF329C35-B846-4D91-82BA-3BE8F79472C2}"/>
              </a:ext>
            </a:extLst>
          </p:cNvPr>
          <p:cNvPicPr>
            <a:picLocks noChangeAspect="1"/>
          </p:cNvPicPr>
          <p:nvPr/>
        </p:nvPicPr>
        <p:blipFill>
          <a:blip r:embed="rId8"/>
          <a:stretch>
            <a:fillRect/>
          </a:stretch>
        </p:blipFill>
        <p:spPr>
          <a:xfrm>
            <a:off x="216599" y="4964111"/>
            <a:ext cx="1551892" cy="1046184"/>
          </a:xfrm>
          <a:prstGeom prst="rect">
            <a:avLst/>
          </a:prstGeom>
        </p:spPr>
      </p:pic>
      <p:sp>
        <p:nvSpPr>
          <p:cNvPr id="47" name="TextBox 46">
            <a:extLst>
              <a:ext uri="{FF2B5EF4-FFF2-40B4-BE49-F238E27FC236}">
                <a16:creationId xmlns:a16="http://schemas.microsoft.com/office/drawing/2014/main" id="{6454BFCB-B645-416D-B74F-74FEC80ACD36}"/>
              </a:ext>
            </a:extLst>
          </p:cNvPr>
          <p:cNvSpPr txBox="1"/>
          <p:nvPr/>
        </p:nvSpPr>
        <p:spPr>
          <a:xfrm>
            <a:off x="327283" y="1748810"/>
            <a:ext cx="3752493" cy="307777"/>
          </a:xfrm>
          <a:prstGeom prst="rect">
            <a:avLst/>
          </a:prstGeom>
          <a:noFill/>
        </p:spPr>
        <p:txBody>
          <a:bodyPr wrap="square">
            <a:spAutoFit/>
          </a:bodyPr>
          <a:lstStyle/>
          <a:p>
            <a:r>
              <a:rPr lang="en-US" sz="1400" dirty="0"/>
              <a:t>Navigation by the nearest position of steps </a:t>
            </a:r>
          </a:p>
        </p:txBody>
      </p:sp>
      <p:sp>
        <p:nvSpPr>
          <p:cNvPr id="48" name="TextBox 47">
            <a:extLst>
              <a:ext uri="{FF2B5EF4-FFF2-40B4-BE49-F238E27FC236}">
                <a16:creationId xmlns:a16="http://schemas.microsoft.com/office/drawing/2014/main" id="{118D6CB6-0E4C-4042-8A13-E5F98B5A5959}"/>
              </a:ext>
            </a:extLst>
          </p:cNvPr>
          <p:cNvSpPr txBox="1"/>
          <p:nvPr/>
        </p:nvSpPr>
        <p:spPr>
          <a:xfrm>
            <a:off x="4522168" y="1748810"/>
            <a:ext cx="2818060" cy="307777"/>
          </a:xfrm>
          <a:prstGeom prst="rect">
            <a:avLst/>
          </a:prstGeom>
          <a:noFill/>
        </p:spPr>
        <p:txBody>
          <a:bodyPr wrap="square">
            <a:spAutoFit/>
          </a:bodyPr>
          <a:lstStyle/>
          <a:p>
            <a:r>
              <a:rPr lang="en-US" sz="1400" dirty="0"/>
              <a:t>Navigation by circles of steps</a:t>
            </a:r>
          </a:p>
        </p:txBody>
      </p:sp>
      <p:pic>
        <p:nvPicPr>
          <p:cNvPr id="49" name="Image 5">
            <a:extLst>
              <a:ext uri="{FF2B5EF4-FFF2-40B4-BE49-F238E27FC236}">
                <a16:creationId xmlns:a16="http://schemas.microsoft.com/office/drawing/2014/main" id="{6E3936DE-2B85-42BF-9929-B9424D4D74BB}"/>
              </a:ext>
            </a:extLst>
          </p:cNvPr>
          <p:cNvPicPr>
            <a:picLocks noChangeAspect="1"/>
          </p:cNvPicPr>
          <p:nvPr/>
        </p:nvPicPr>
        <p:blipFill>
          <a:blip r:embed="rId9"/>
          <a:stretch>
            <a:fillRect/>
          </a:stretch>
        </p:blipFill>
        <p:spPr>
          <a:xfrm>
            <a:off x="4626431" y="2234795"/>
            <a:ext cx="3463843" cy="3028546"/>
          </a:xfrm>
          <a:prstGeom prst="rect">
            <a:avLst/>
          </a:prstGeom>
        </p:spPr>
      </p:pic>
      <p:pic>
        <p:nvPicPr>
          <p:cNvPr id="50" name="Image 10">
            <a:extLst>
              <a:ext uri="{FF2B5EF4-FFF2-40B4-BE49-F238E27FC236}">
                <a16:creationId xmlns:a16="http://schemas.microsoft.com/office/drawing/2014/main" id="{23FF9AF4-077A-4F96-8CDF-C5A3CB225A0C}"/>
              </a:ext>
            </a:extLst>
          </p:cNvPr>
          <p:cNvPicPr>
            <a:picLocks noChangeAspect="1"/>
          </p:cNvPicPr>
          <p:nvPr/>
        </p:nvPicPr>
        <p:blipFill>
          <a:blip r:embed="rId10"/>
          <a:stretch>
            <a:fillRect/>
          </a:stretch>
        </p:blipFill>
        <p:spPr>
          <a:xfrm>
            <a:off x="8232148" y="2234795"/>
            <a:ext cx="3551714" cy="3028546"/>
          </a:xfrm>
          <a:prstGeom prst="rect">
            <a:avLst/>
          </a:prstGeom>
        </p:spPr>
      </p:pic>
      <p:sp>
        <p:nvSpPr>
          <p:cNvPr id="51" name="TextBox 50">
            <a:extLst>
              <a:ext uri="{FF2B5EF4-FFF2-40B4-BE49-F238E27FC236}">
                <a16:creationId xmlns:a16="http://schemas.microsoft.com/office/drawing/2014/main" id="{8094FFEC-70C3-4CE5-A284-A8B462094801}"/>
              </a:ext>
            </a:extLst>
          </p:cNvPr>
          <p:cNvSpPr txBox="1"/>
          <p:nvPr/>
        </p:nvSpPr>
        <p:spPr>
          <a:xfrm>
            <a:off x="4522168" y="5346875"/>
            <a:ext cx="6686400" cy="954107"/>
          </a:xfrm>
          <a:prstGeom prst="rect">
            <a:avLst/>
          </a:prstGeom>
          <a:noFill/>
        </p:spPr>
        <p:txBody>
          <a:bodyPr wrap="square">
            <a:spAutoFit/>
          </a:bodyPr>
          <a:lstStyle/>
          <a:p>
            <a:r>
              <a:rPr lang="en-US" sz="1400" dirty="0"/>
              <a:t>Two circles per step, one for entrance and one for exit. In addition to de position, other criteria can be defined to validate a step. </a:t>
            </a:r>
          </a:p>
          <a:p>
            <a:r>
              <a:rPr lang="en-US" sz="1400" b="1" u="sng" dirty="0">
                <a:solidFill>
                  <a:schemeClr val="bg1">
                    <a:lumMod val="50000"/>
                  </a:schemeClr>
                </a:solidFill>
              </a:rPr>
              <a:t>For example</a:t>
            </a:r>
            <a:r>
              <a:rPr lang="en-US" sz="1400" b="1" dirty="0">
                <a:solidFill>
                  <a:schemeClr val="bg1">
                    <a:lumMod val="50000"/>
                  </a:schemeClr>
                </a:solidFill>
              </a:rPr>
              <a:t>: </a:t>
            </a:r>
            <a:r>
              <a:rPr lang="en-US" sz="1400" dirty="0">
                <a:solidFill>
                  <a:schemeClr val="bg1">
                    <a:lumMod val="50000"/>
                  </a:schemeClr>
                </a:solidFill>
              </a:rPr>
              <a:t>To exit the step “enter the bus”, user must be 200m away from the step </a:t>
            </a:r>
            <a:r>
              <a:rPr lang="en-US" sz="1400" b="1" dirty="0">
                <a:solidFill>
                  <a:schemeClr val="bg1">
                    <a:lumMod val="50000"/>
                  </a:schemeClr>
                </a:solidFill>
              </a:rPr>
              <a:t>AND</a:t>
            </a:r>
            <a:r>
              <a:rPr lang="en-US" sz="1400" dirty="0">
                <a:solidFill>
                  <a:schemeClr val="bg1">
                    <a:lumMod val="50000"/>
                  </a:schemeClr>
                </a:solidFill>
              </a:rPr>
              <a:t> at a speed greater than 30km/h</a:t>
            </a:r>
          </a:p>
        </p:txBody>
      </p:sp>
      <p:sp>
        <p:nvSpPr>
          <p:cNvPr id="52" name="TextBox 51">
            <a:extLst>
              <a:ext uri="{FF2B5EF4-FFF2-40B4-BE49-F238E27FC236}">
                <a16:creationId xmlns:a16="http://schemas.microsoft.com/office/drawing/2014/main" id="{CBBACFF6-FE0E-4478-A08D-4E504A174424}"/>
              </a:ext>
            </a:extLst>
          </p:cNvPr>
          <p:cNvSpPr txBox="1"/>
          <p:nvPr/>
        </p:nvSpPr>
        <p:spPr>
          <a:xfrm>
            <a:off x="1733645" y="5164213"/>
            <a:ext cx="2320042" cy="723275"/>
          </a:xfrm>
          <a:prstGeom prst="rect">
            <a:avLst/>
          </a:prstGeom>
          <a:noFill/>
        </p:spPr>
        <p:txBody>
          <a:bodyPr wrap="square" rtlCol="0">
            <a:spAutoFit/>
          </a:bodyPr>
          <a:lstStyle/>
          <a:p>
            <a:pPr>
              <a:spcAft>
                <a:spcPts val="600"/>
              </a:spcAft>
            </a:pPr>
            <a:r>
              <a:rPr lang="en-US" sz="1200" dirty="0"/>
              <a:t>Problem: step 4 momentarily appears before step 3</a:t>
            </a:r>
          </a:p>
          <a:p>
            <a:pPr algn="ctr">
              <a:spcAft>
                <a:spcPts val="600"/>
              </a:spcAft>
            </a:pPr>
            <a:r>
              <a:rPr lang="en-US" sz="1200" b="1" dirty="0">
                <a:solidFill>
                  <a:srgbClr val="FF0000"/>
                </a:solidFill>
              </a:rPr>
              <a:t>Can be very confusing</a:t>
            </a:r>
          </a:p>
        </p:txBody>
      </p:sp>
      <p:pic>
        <p:nvPicPr>
          <p:cNvPr id="7" name="Audio 6">
            <a:hlinkClick r:id="" action="ppaction://media"/>
            <a:extLst>
              <a:ext uri="{FF2B5EF4-FFF2-40B4-BE49-F238E27FC236}">
                <a16:creationId xmlns:a16="http://schemas.microsoft.com/office/drawing/2014/main" id="{E81D850E-EBCB-4102-BC53-5EA17D2277B7}"/>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11488738" y="6154738"/>
            <a:ext cx="487362" cy="487362"/>
          </a:xfrm>
          <a:prstGeom prst="rect">
            <a:avLst/>
          </a:prstGeom>
        </p:spPr>
      </p:pic>
    </p:spTree>
    <p:extLst>
      <p:ext uri="{BB962C8B-B14F-4D97-AF65-F5344CB8AC3E}">
        <p14:creationId xmlns:p14="http://schemas.microsoft.com/office/powerpoint/2010/main" val="2835993066"/>
      </p:ext>
    </p:extLst>
  </p:cSld>
  <p:clrMapOvr>
    <a:masterClrMapping/>
  </p:clrMapOvr>
  <mc:AlternateContent xmlns:mc="http://schemas.openxmlformats.org/markup-compatibility/2006">
    <mc:Choice xmlns:p14="http://schemas.microsoft.com/office/powerpoint/2010/main" Requires="p14">
      <p:transition spd="slow" p14:dur="2000" advTm="80332"/>
    </mc:Choice>
    <mc:Fallback>
      <p:transition spd="slow" advTm="8033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pgemini-Engineering_PPT_Company-Confidential.pptx" id="{E54B866D-9476-41F2-A1E5-963603F33CB9}" vid="{F2895907-B580-4BCE-BBA7-B1F418D4947F}"/>
    </a:ext>
  </a:extLst>
</a:theme>
</file>

<file path=ppt/theme/theme2.xml><?xml version="1.0" encoding="utf-8"?>
<a:theme xmlns:a="http://schemas.openxmlformats.org/drawingml/2006/main" name="Cover options_Section">
  <a:themeElements>
    <a:clrScheme name="Capgemini NEW">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pgemini-Engineering_PPT_Company-Confidential.pptx" id="{E54B866D-9476-41F2-A1E5-963603F33CB9}" vid="{7560469C-7177-4770-A343-24765F4E7A55}"/>
    </a:ext>
  </a:extLst>
</a:theme>
</file>

<file path=ppt/theme/theme3.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0CEE4F832DA3744908AB89C10D5CCF5" ma:contentTypeVersion="0" ma:contentTypeDescription="Crée un document." ma:contentTypeScope="" ma:versionID="dd4f2c80ecd4213aafce5a0af5ba3bdf">
  <xsd:schema xmlns:xsd="http://www.w3.org/2001/XMLSchema" xmlns:xs="http://www.w3.org/2001/XMLSchema" xmlns:p="http://schemas.microsoft.com/office/2006/metadata/properties" targetNamespace="http://schemas.microsoft.com/office/2006/metadata/properties" ma:root="true" ma:fieldsID="f07dff4e4df377500fd878120b107a3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65F6DA-EDFD-4C3F-B2EB-EDE359E124E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D0672139-DBF8-413B-841F-3A5AEA9366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93B09ECE-D1C0-42A5-B69E-8C88764DB9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pgemini-Engineering_PPT_Company-Confidential</Template>
  <TotalTime>23758</TotalTime>
  <Words>592</Words>
  <Application>Microsoft Office PowerPoint</Application>
  <PresentationFormat>Widescreen</PresentationFormat>
  <Paragraphs>108</Paragraphs>
  <Slides>13</Slides>
  <Notes>8</Notes>
  <HiddenSlides>0</HiddenSlides>
  <MMClips>12</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Ubuntu Light</vt:lpstr>
      <vt:lpstr>Ubuntu</vt:lpstr>
      <vt:lpstr>Times New Roman</vt:lpstr>
      <vt:lpstr>Wingdings</vt:lpstr>
      <vt:lpstr>Arial</vt:lpstr>
      <vt:lpstr>Ubuntu Medium</vt:lpstr>
      <vt:lpstr>Capgemini Master 2021</vt:lpstr>
      <vt:lpstr>Cover options_Section</vt:lpstr>
      <vt:lpstr>think-cell Slide</vt:lpstr>
      <vt:lpstr>Quantitative and Qualitative Evaluation of a Navigation Application  Adapted to Young People with Intellectual Disabilities</vt:lpstr>
      <vt:lpstr>Introduction. Context</vt:lpstr>
      <vt:lpstr>Introduction. Context</vt:lpstr>
      <vt:lpstr>Introduction. Context</vt:lpstr>
      <vt:lpstr>Introduction. Context</vt:lpstr>
      <vt:lpstr>Introduction. Problem statement</vt:lpstr>
      <vt:lpstr>Introduction</vt:lpstr>
      <vt:lpstr>Methods</vt:lpstr>
      <vt:lpstr>Methods</vt:lpstr>
      <vt:lpstr>Results</vt:lpstr>
      <vt:lpstr>Conslusion</vt:lpstr>
      <vt:lpstr>PowerPoint Presentation</vt:lpstr>
      <vt:lpstr>PowerPoint Presentation</vt:lpstr>
    </vt:vector>
  </TitlesOfParts>
  <Company>ALTRA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ar SSI  Computation Tool</dc:title>
  <dc:subject>Capgemini Engineering template</dc:subject>
  <dc:creator>Matthias Foyer</dc:creator>
  <cp:lastModifiedBy>HALISDEMIR, Ufuk</cp:lastModifiedBy>
  <cp:revision>314</cp:revision>
  <dcterms:created xsi:type="dcterms:W3CDTF">2022-04-19T09:40:20Z</dcterms:created>
  <dcterms:modified xsi:type="dcterms:W3CDTF">2022-10-14T14:40:00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CEE4F832DA3744908AB89C10D5CCF5</vt:lpwstr>
  </property>
</Properties>
</file>